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1" r:id="rId1"/>
  </p:sldMasterIdLst>
  <p:notesMasterIdLst>
    <p:notesMasterId r:id="rId31"/>
  </p:notesMasterIdLst>
  <p:handoutMasterIdLst>
    <p:handoutMasterId r:id="rId32"/>
  </p:handoutMasterIdLst>
  <p:sldIdLst>
    <p:sldId id="257" r:id="rId2"/>
    <p:sldId id="489" r:id="rId3"/>
    <p:sldId id="309" r:id="rId4"/>
    <p:sldId id="502" r:id="rId5"/>
    <p:sldId id="461" r:id="rId6"/>
    <p:sldId id="408" r:id="rId7"/>
    <p:sldId id="446" r:id="rId8"/>
    <p:sldId id="451" r:id="rId9"/>
    <p:sldId id="447" r:id="rId10"/>
    <p:sldId id="492" r:id="rId11"/>
    <p:sldId id="437" r:id="rId12"/>
    <p:sldId id="407" r:id="rId13"/>
    <p:sldId id="493" r:id="rId14"/>
    <p:sldId id="491" r:id="rId15"/>
    <p:sldId id="455" r:id="rId16"/>
    <p:sldId id="495" r:id="rId17"/>
    <p:sldId id="454" r:id="rId18"/>
    <p:sldId id="456" r:id="rId19"/>
    <p:sldId id="466" r:id="rId20"/>
    <p:sldId id="467" r:id="rId21"/>
    <p:sldId id="469" r:id="rId22"/>
    <p:sldId id="498" r:id="rId23"/>
    <p:sldId id="497" r:id="rId24"/>
    <p:sldId id="499" r:id="rId25"/>
    <p:sldId id="458" r:id="rId26"/>
    <p:sldId id="501" r:id="rId27"/>
    <p:sldId id="436" r:id="rId28"/>
    <p:sldId id="457" r:id="rId29"/>
    <p:sldId id="450" r:id="rId30"/>
  </p:sldIdLst>
  <p:sldSz cx="9144000" cy="6858000" type="screen4x3"/>
  <p:notesSz cx="6954838" cy="923925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ve Zyglowicz" initials="" lastIdx="1" clrIdx="0"/>
  <p:cmAuthor id="2" name="Unknown User1" initials="Unknown User1" lastIdx="1" clrIdx="1"/>
  <p:cmAuthor id="3" name="Unknown User2" initials="Unknown User2" lastIdx="1" clrIdx="2"/>
  <p:cmAuthor id="4" name="Unknown User3" initials="Unknown User3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AC00"/>
    <a:srgbClr val="2F5DC3"/>
    <a:srgbClr val="C1FFDD"/>
    <a:srgbClr val="008000"/>
    <a:srgbClr val="009BD2"/>
    <a:srgbClr val="31E806"/>
    <a:srgbClr val="FBA321"/>
    <a:srgbClr val="9A84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8" autoAdjust="0"/>
    <p:restoredTop sz="95184" autoAdjust="0"/>
  </p:normalViewPr>
  <p:slideViewPr>
    <p:cSldViewPr snapToGrid="0">
      <p:cViewPr varScale="1">
        <p:scale>
          <a:sx n="92" d="100"/>
          <a:sy n="92" d="100"/>
        </p:scale>
        <p:origin x="654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845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80" d="100"/>
          <a:sy n="80" d="100"/>
        </p:scale>
        <p:origin x="1464" y="-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CCA1185-6E33-41E1-AE74-BA7A16B23F59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F3D0017-2C99-4FFC-AABF-3ACA9870CFF2}">
      <dgm:prSet phldrT="[Text]"/>
      <dgm:spPr>
        <a:solidFill>
          <a:srgbClr val="339966"/>
        </a:solidFill>
      </dgm:spPr>
      <dgm:t>
        <a:bodyPr/>
        <a:lstStyle/>
        <a:p>
          <a:r>
            <a:rPr lang="en-US" dirty="0"/>
            <a:t>Brand</a:t>
          </a:r>
        </a:p>
      </dgm:t>
    </dgm:pt>
    <dgm:pt modelId="{26F0A4CE-F29D-46F0-A223-3BE60B9D1EB7}" type="parTrans" cxnId="{F75DA633-252E-42E4-A7F5-2CF8B2B4956D}">
      <dgm:prSet/>
      <dgm:spPr/>
      <dgm:t>
        <a:bodyPr/>
        <a:lstStyle/>
        <a:p>
          <a:endParaRPr lang="en-US"/>
        </a:p>
      </dgm:t>
    </dgm:pt>
    <dgm:pt modelId="{6F805241-AE74-4195-AC76-81CC433FB2D4}" type="sibTrans" cxnId="{F75DA633-252E-42E4-A7F5-2CF8B2B4956D}">
      <dgm:prSet/>
      <dgm:spPr/>
      <dgm:t>
        <a:bodyPr/>
        <a:lstStyle/>
        <a:p>
          <a:endParaRPr lang="en-US"/>
        </a:p>
      </dgm:t>
    </dgm:pt>
    <dgm:pt modelId="{31175D10-B3DA-4023-949E-DD65ED2CDF29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600" dirty="0"/>
            <a:t>Strong belief in the GOGO BAND mission to help children</a:t>
          </a:r>
        </a:p>
      </dgm:t>
    </dgm:pt>
    <dgm:pt modelId="{93384EF7-CDCE-4219-9577-7BC145CD61CA}" type="parTrans" cxnId="{D15509DE-8696-453B-870C-34F5E1BA8BB0}">
      <dgm:prSet/>
      <dgm:spPr/>
      <dgm:t>
        <a:bodyPr/>
        <a:lstStyle/>
        <a:p>
          <a:endParaRPr lang="en-US"/>
        </a:p>
      </dgm:t>
    </dgm:pt>
    <dgm:pt modelId="{551E4F5F-EF67-4579-B772-1C41E0DC7DF6}" type="sibTrans" cxnId="{D15509DE-8696-453B-870C-34F5E1BA8BB0}">
      <dgm:prSet/>
      <dgm:spPr/>
      <dgm:t>
        <a:bodyPr/>
        <a:lstStyle/>
        <a:p>
          <a:endParaRPr lang="en-US"/>
        </a:p>
      </dgm:t>
    </dgm:pt>
    <dgm:pt modelId="{BAC419FD-1ED8-4AF5-A34E-9807FE3EDE03}">
      <dgm:prSet phldrT="[Text]" custT="1"/>
      <dgm:spPr/>
      <dgm:t>
        <a:bodyPr/>
        <a:lstStyle/>
        <a:p>
          <a:r>
            <a:rPr lang="en-US" sz="1600" dirty="0"/>
            <a:t>Seeing a child’s accomplishment has greatest impact</a:t>
          </a:r>
        </a:p>
      </dgm:t>
    </dgm:pt>
    <dgm:pt modelId="{BD70D166-8B65-4956-8E1C-CCE1C4C928BC}" type="parTrans" cxnId="{6551436D-4828-462D-96BA-E5692238C6AE}">
      <dgm:prSet/>
      <dgm:spPr/>
      <dgm:t>
        <a:bodyPr/>
        <a:lstStyle/>
        <a:p>
          <a:endParaRPr lang="en-US"/>
        </a:p>
      </dgm:t>
    </dgm:pt>
    <dgm:pt modelId="{00A44A29-F965-4CAF-BFDB-C00C4050CFFA}" type="sibTrans" cxnId="{6551436D-4828-462D-96BA-E5692238C6AE}">
      <dgm:prSet/>
      <dgm:spPr/>
      <dgm:t>
        <a:bodyPr/>
        <a:lstStyle/>
        <a:p>
          <a:endParaRPr lang="en-US"/>
        </a:p>
      </dgm:t>
    </dgm:pt>
    <dgm:pt modelId="{F48A21E2-5177-49AC-A803-FA50F7495912}">
      <dgm:prSet phldrT="[Text]"/>
      <dgm:spPr>
        <a:solidFill>
          <a:srgbClr val="008080"/>
        </a:solidFill>
      </dgm:spPr>
      <dgm:t>
        <a:bodyPr/>
        <a:lstStyle/>
        <a:p>
          <a:r>
            <a:rPr lang="en-US" dirty="0"/>
            <a:t>Messaging</a:t>
          </a:r>
        </a:p>
      </dgm:t>
    </dgm:pt>
    <dgm:pt modelId="{42E5654F-8723-47F8-A0F0-35858E90AB84}" type="parTrans" cxnId="{D9996B37-9C5C-47F2-97BE-91D0A110E307}">
      <dgm:prSet/>
      <dgm:spPr/>
      <dgm:t>
        <a:bodyPr/>
        <a:lstStyle/>
        <a:p>
          <a:endParaRPr lang="en-US"/>
        </a:p>
      </dgm:t>
    </dgm:pt>
    <dgm:pt modelId="{5D4C70EC-C5BC-4C1F-8A8C-CB101E1BAE0C}" type="sibTrans" cxnId="{D9996B37-9C5C-47F2-97BE-91D0A110E307}">
      <dgm:prSet/>
      <dgm:spPr/>
      <dgm:t>
        <a:bodyPr/>
        <a:lstStyle/>
        <a:p>
          <a:endParaRPr lang="en-US"/>
        </a:p>
      </dgm:t>
    </dgm:pt>
    <dgm:pt modelId="{31C86B08-BAB4-41D5-B86E-2384E7364A42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600" dirty="0"/>
            <a:t>Parents perplexed as to the root causes of PE</a:t>
          </a:r>
        </a:p>
      </dgm:t>
    </dgm:pt>
    <dgm:pt modelId="{026A7C8A-486C-49C0-86CA-F47F94C94454}" type="parTrans" cxnId="{0775CA4A-4651-499C-9233-85F4EAF3E528}">
      <dgm:prSet/>
      <dgm:spPr/>
      <dgm:t>
        <a:bodyPr/>
        <a:lstStyle/>
        <a:p>
          <a:endParaRPr lang="en-US"/>
        </a:p>
      </dgm:t>
    </dgm:pt>
    <dgm:pt modelId="{02237682-C80B-4D99-B446-890738111D30}" type="sibTrans" cxnId="{0775CA4A-4651-499C-9233-85F4EAF3E528}">
      <dgm:prSet/>
      <dgm:spPr/>
      <dgm:t>
        <a:bodyPr/>
        <a:lstStyle/>
        <a:p>
          <a:endParaRPr lang="en-US"/>
        </a:p>
      </dgm:t>
    </dgm:pt>
    <dgm:pt modelId="{43C5C6FE-D438-48CF-8CC6-AD9F52572B0A}">
      <dgm:prSet phldrT="[Text]" custT="1"/>
      <dgm:spPr/>
      <dgm:t>
        <a:bodyPr/>
        <a:lstStyle/>
        <a:p>
          <a:r>
            <a:rPr lang="en-US" sz="1600" dirty="0">
              <a:latin typeface="+mn-lt"/>
            </a:rPr>
            <a:t>Astounded at the prevalence of the problem in children</a:t>
          </a:r>
          <a:endParaRPr lang="en-US" sz="1600" dirty="0"/>
        </a:p>
      </dgm:t>
    </dgm:pt>
    <dgm:pt modelId="{34723AF9-B220-48D8-B690-5E4CC009D69F}" type="parTrans" cxnId="{9259AB65-E1E8-48F2-B4A5-91E24A30F5AD}">
      <dgm:prSet/>
      <dgm:spPr/>
      <dgm:t>
        <a:bodyPr/>
        <a:lstStyle/>
        <a:p>
          <a:endParaRPr lang="en-US"/>
        </a:p>
      </dgm:t>
    </dgm:pt>
    <dgm:pt modelId="{EB24EC7B-A31D-4581-A482-4BCA95E61BBA}" type="sibTrans" cxnId="{9259AB65-E1E8-48F2-B4A5-91E24A30F5AD}">
      <dgm:prSet/>
      <dgm:spPr/>
      <dgm:t>
        <a:bodyPr/>
        <a:lstStyle/>
        <a:p>
          <a:endParaRPr lang="en-US"/>
        </a:p>
      </dgm:t>
    </dgm:pt>
    <dgm:pt modelId="{9A5921CA-7AC1-4D57-92CE-1AD62D0C83F0}">
      <dgm:prSet phldrT="[Text]"/>
      <dgm:spPr>
        <a:solidFill>
          <a:srgbClr val="006666"/>
        </a:solidFill>
      </dgm:spPr>
      <dgm:t>
        <a:bodyPr/>
        <a:lstStyle/>
        <a:p>
          <a:r>
            <a:rPr lang="en-US" dirty="0"/>
            <a:t>Channels</a:t>
          </a:r>
        </a:p>
      </dgm:t>
    </dgm:pt>
    <dgm:pt modelId="{B3420DB8-4717-4224-A16B-3B17C520DB64}" type="parTrans" cxnId="{2E995032-4BB5-490A-BBB7-41ECA8EF9D2D}">
      <dgm:prSet/>
      <dgm:spPr/>
      <dgm:t>
        <a:bodyPr/>
        <a:lstStyle/>
        <a:p>
          <a:endParaRPr lang="en-US"/>
        </a:p>
      </dgm:t>
    </dgm:pt>
    <dgm:pt modelId="{62187122-5724-4B8F-9031-B068F5D8D75C}" type="sibTrans" cxnId="{2E995032-4BB5-490A-BBB7-41ECA8EF9D2D}">
      <dgm:prSet/>
      <dgm:spPr/>
      <dgm:t>
        <a:bodyPr/>
        <a:lstStyle/>
        <a:p>
          <a:endParaRPr lang="en-US"/>
        </a:p>
      </dgm:t>
    </dgm:pt>
    <dgm:pt modelId="{2EFA63BB-1C78-4BDE-BF0B-23541AF8402D}">
      <dgm:prSet phldrT="[Text]"/>
      <dgm:spPr/>
      <dgm:t>
        <a:bodyPr/>
        <a:lstStyle/>
        <a:p>
          <a:r>
            <a:rPr lang="en-US" dirty="0"/>
            <a:t>Pediatricians are the “go-to” adviser for parents</a:t>
          </a:r>
        </a:p>
      </dgm:t>
    </dgm:pt>
    <dgm:pt modelId="{FA43B164-AF91-4FEF-9463-E4EB652AE956}" type="parTrans" cxnId="{4CAE5365-70DC-4B0A-8255-0A18988245CE}">
      <dgm:prSet/>
      <dgm:spPr/>
      <dgm:t>
        <a:bodyPr/>
        <a:lstStyle/>
        <a:p>
          <a:endParaRPr lang="en-US"/>
        </a:p>
      </dgm:t>
    </dgm:pt>
    <dgm:pt modelId="{10D721B1-F80F-4EC0-AB73-3F81AECC8BF8}" type="sibTrans" cxnId="{4CAE5365-70DC-4B0A-8255-0A18988245CE}">
      <dgm:prSet/>
      <dgm:spPr/>
      <dgm:t>
        <a:bodyPr/>
        <a:lstStyle/>
        <a:p>
          <a:endParaRPr lang="en-US"/>
        </a:p>
      </dgm:t>
    </dgm:pt>
    <dgm:pt modelId="{113DAC05-6C6C-4DC7-BFEC-84497B6CBC5A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600" dirty="0"/>
            <a:t>Consumers wary of fortune seeking pricing policies</a:t>
          </a:r>
        </a:p>
      </dgm:t>
    </dgm:pt>
    <dgm:pt modelId="{2E6BF140-3252-4D6C-ABC2-B150EADCC016}" type="parTrans" cxnId="{AB430DC1-45F4-43A5-97E2-EB974D6C053A}">
      <dgm:prSet/>
      <dgm:spPr/>
      <dgm:t>
        <a:bodyPr/>
        <a:lstStyle/>
        <a:p>
          <a:endParaRPr lang="en-US"/>
        </a:p>
      </dgm:t>
    </dgm:pt>
    <dgm:pt modelId="{FE96C457-4F27-47E8-9EC1-242FFB190E36}" type="sibTrans" cxnId="{AB430DC1-45F4-43A5-97E2-EB974D6C053A}">
      <dgm:prSet/>
      <dgm:spPr/>
      <dgm:t>
        <a:bodyPr/>
        <a:lstStyle/>
        <a:p>
          <a:endParaRPr lang="en-US"/>
        </a:p>
      </dgm:t>
    </dgm:pt>
    <dgm:pt modelId="{CA3D5415-C8EF-449A-B99E-4E509B706E66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600" dirty="0"/>
            <a:t>GOGO BAND is perceived as innovative and “different” </a:t>
          </a:r>
        </a:p>
      </dgm:t>
    </dgm:pt>
    <dgm:pt modelId="{68F03982-184B-45C9-8100-865211AA98DB}" type="parTrans" cxnId="{8E9B138E-07B2-4D25-8BCE-AFB63ED26CE6}">
      <dgm:prSet/>
      <dgm:spPr/>
      <dgm:t>
        <a:bodyPr/>
        <a:lstStyle/>
        <a:p>
          <a:endParaRPr lang="en-US"/>
        </a:p>
      </dgm:t>
    </dgm:pt>
    <dgm:pt modelId="{E0379F32-2DDF-4123-BC43-FBC893177B34}" type="sibTrans" cxnId="{8E9B138E-07B2-4D25-8BCE-AFB63ED26CE6}">
      <dgm:prSet/>
      <dgm:spPr/>
      <dgm:t>
        <a:bodyPr/>
        <a:lstStyle/>
        <a:p>
          <a:endParaRPr lang="en-US"/>
        </a:p>
      </dgm:t>
    </dgm:pt>
    <dgm:pt modelId="{7E3567B3-70E4-F845-B777-8AE70840FC59}">
      <dgm:prSet phldrT="[Text]" custT="1"/>
      <dgm:spPr/>
      <dgm:t>
        <a:bodyPr/>
        <a:lstStyle/>
        <a:p>
          <a:r>
            <a:rPr lang="en-US" sz="1600" dirty="0"/>
            <a:t>Parent’s stress level is high and cannot be underrated</a:t>
          </a:r>
        </a:p>
      </dgm:t>
    </dgm:pt>
    <dgm:pt modelId="{8F2D2C30-A0E2-1A47-AC85-47B9E66725FB}" type="parTrans" cxnId="{AA8DF346-6954-DC48-B367-8C0D4C910A72}">
      <dgm:prSet/>
      <dgm:spPr/>
      <dgm:t>
        <a:bodyPr/>
        <a:lstStyle/>
        <a:p>
          <a:endParaRPr lang="en-US"/>
        </a:p>
      </dgm:t>
    </dgm:pt>
    <dgm:pt modelId="{10B17D5C-5CBA-7C47-83B6-A1E5C488331A}" type="sibTrans" cxnId="{AA8DF346-6954-DC48-B367-8C0D4C910A72}">
      <dgm:prSet/>
      <dgm:spPr/>
      <dgm:t>
        <a:bodyPr/>
        <a:lstStyle/>
        <a:p>
          <a:endParaRPr lang="en-US"/>
        </a:p>
      </dgm:t>
    </dgm:pt>
    <dgm:pt modelId="{4B2AAF5A-6E6A-8542-BB3D-4518A61EDB09}">
      <dgm:prSet phldrT="[Text]"/>
      <dgm:spPr/>
      <dgm:t>
        <a:bodyPr/>
        <a:lstStyle/>
        <a:p>
          <a:r>
            <a:rPr lang="en-US" dirty="0"/>
            <a:t>Parent’s will follow doctor’s advice with little hesitation</a:t>
          </a:r>
        </a:p>
      </dgm:t>
    </dgm:pt>
    <dgm:pt modelId="{B9633E53-838B-2249-B556-3BD8E37CFB17}" type="parTrans" cxnId="{0AE3887B-48E4-2F4A-AE03-D99D434A4B07}">
      <dgm:prSet/>
      <dgm:spPr/>
      <dgm:t>
        <a:bodyPr/>
        <a:lstStyle/>
        <a:p>
          <a:endParaRPr lang="en-US"/>
        </a:p>
      </dgm:t>
    </dgm:pt>
    <dgm:pt modelId="{D76E8125-90B1-B941-AFFE-787DB9C9DDEF}" type="sibTrans" cxnId="{0AE3887B-48E4-2F4A-AE03-D99D434A4B07}">
      <dgm:prSet/>
      <dgm:spPr/>
      <dgm:t>
        <a:bodyPr/>
        <a:lstStyle/>
        <a:p>
          <a:endParaRPr lang="en-US"/>
        </a:p>
      </dgm:t>
    </dgm:pt>
    <dgm:pt modelId="{25515C8E-7803-E14E-B1D0-74B5815AE3D6}">
      <dgm:prSet phldrT="[Text]"/>
      <dgm:spPr/>
      <dgm:t>
        <a:bodyPr/>
        <a:lstStyle/>
        <a:p>
          <a:r>
            <a:rPr lang="en-US" dirty="0"/>
            <a:t>Opportunity to be the knowledge expert in the market </a:t>
          </a:r>
        </a:p>
      </dgm:t>
    </dgm:pt>
    <dgm:pt modelId="{06441650-4A1D-D14E-9ED8-44762443B7E5}" type="parTrans" cxnId="{56D3DE3B-F2D8-344F-826F-B9DF9AD20AA6}">
      <dgm:prSet/>
      <dgm:spPr/>
      <dgm:t>
        <a:bodyPr/>
        <a:lstStyle/>
        <a:p>
          <a:endParaRPr lang="en-US"/>
        </a:p>
      </dgm:t>
    </dgm:pt>
    <dgm:pt modelId="{B0E75038-995A-7B45-B140-5B89B060C9D6}" type="sibTrans" cxnId="{56D3DE3B-F2D8-344F-826F-B9DF9AD20AA6}">
      <dgm:prSet/>
      <dgm:spPr/>
      <dgm:t>
        <a:bodyPr/>
        <a:lstStyle/>
        <a:p>
          <a:endParaRPr lang="en-US"/>
        </a:p>
      </dgm:t>
    </dgm:pt>
    <dgm:pt modelId="{CCD97693-B30B-4BB6-A321-DBEB8757ACE2}" type="pres">
      <dgm:prSet presAssocID="{8CCA1185-6E33-41E1-AE74-BA7A16B23F59}" presName="linearFlow" presStyleCnt="0">
        <dgm:presLayoutVars>
          <dgm:dir/>
          <dgm:animLvl val="lvl"/>
          <dgm:resizeHandles val="exact"/>
        </dgm:presLayoutVars>
      </dgm:prSet>
      <dgm:spPr/>
    </dgm:pt>
    <dgm:pt modelId="{E1060779-9CAB-432C-942A-8258C4092DA0}" type="pres">
      <dgm:prSet presAssocID="{9F3D0017-2C99-4FFC-AABF-3ACA9870CFF2}" presName="composite" presStyleCnt="0"/>
      <dgm:spPr/>
    </dgm:pt>
    <dgm:pt modelId="{34A304B8-FCA6-4C27-9732-0873523FCE69}" type="pres">
      <dgm:prSet presAssocID="{9F3D0017-2C99-4FFC-AABF-3ACA9870CFF2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FFF584C7-76F6-4B45-A9A7-9A15237C70E9}" type="pres">
      <dgm:prSet presAssocID="{9F3D0017-2C99-4FFC-AABF-3ACA9870CFF2}" presName="descendantText" presStyleLbl="alignAcc1" presStyleIdx="0" presStyleCnt="3">
        <dgm:presLayoutVars>
          <dgm:bulletEnabled val="1"/>
        </dgm:presLayoutVars>
      </dgm:prSet>
      <dgm:spPr/>
    </dgm:pt>
    <dgm:pt modelId="{038A7613-DBF1-4F0C-ABD2-5C35C8BB8A7A}" type="pres">
      <dgm:prSet presAssocID="{6F805241-AE74-4195-AC76-81CC433FB2D4}" presName="sp" presStyleCnt="0"/>
      <dgm:spPr/>
    </dgm:pt>
    <dgm:pt modelId="{486AB6C0-A5D9-4234-A203-DC5D861C9204}" type="pres">
      <dgm:prSet presAssocID="{F48A21E2-5177-49AC-A803-FA50F7495912}" presName="composite" presStyleCnt="0"/>
      <dgm:spPr/>
    </dgm:pt>
    <dgm:pt modelId="{9E053E78-EF5D-4DDF-A2EF-6B10655FC9C3}" type="pres">
      <dgm:prSet presAssocID="{F48A21E2-5177-49AC-A803-FA50F7495912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EC80A6BD-8444-4F79-A018-38D3CFB7939F}" type="pres">
      <dgm:prSet presAssocID="{F48A21E2-5177-49AC-A803-FA50F7495912}" presName="descendantText" presStyleLbl="alignAcc1" presStyleIdx="1" presStyleCnt="3" custLinFactNeighborX="2962" custLinFactNeighborY="884">
        <dgm:presLayoutVars>
          <dgm:bulletEnabled val="1"/>
        </dgm:presLayoutVars>
      </dgm:prSet>
      <dgm:spPr/>
    </dgm:pt>
    <dgm:pt modelId="{EC11B14B-FB26-4354-8AAC-52602EE3E724}" type="pres">
      <dgm:prSet presAssocID="{5D4C70EC-C5BC-4C1F-8A8C-CB101E1BAE0C}" presName="sp" presStyleCnt="0"/>
      <dgm:spPr/>
    </dgm:pt>
    <dgm:pt modelId="{D23B3BF9-3F55-4776-9841-093A68EFFB34}" type="pres">
      <dgm:prSet presAssocID="{9A5921CA-7AC1-4D57-92CE-1AD62D0C83F0}" presName="composite" presStyleCnt="0"/>
      <dgm:spPr/>
    </dgm:pt>
    <dgm:pt modelId="{AE3BDB34-746F-4C90-ABF0-E45CBE3F9A36}" type="pres">
      <dgm:prSet presAssocID="{9A5921CA-7AC1-4D57-92CE-1AD62D0C83F0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F0C50C6E-0980-4703-B84E-F1B887FD019D}" type="pres">
      <dgm:prSet presAssocID="{9A5921CA-7AC1-4D57-92CE-1AD62D0C83F0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75EB2109-223E-49BD-99EF-79FA7643A470}" type="presOf" srcId="{9F3D0017-2C99-4FFC-AABF-3ACA9870CFF2}" destId="{34A304B8-FCA6-4C27-9732-0873523FCE69}" srcOrd="0" destOrd="0" presId="urn:microsoft.com/office/officeart/2005/8/layout/chevron2"/>
    <dgm:cxn modelId="{A9F4D609-8019-4BE8-B302-8E18302AA378}" type="presOf" srcId="{31175D10-B3DA-4023-949E-DD65ED2CDF29}" destId="{FFF584C7-76F6-4B45-A9A7-9A15237C70E9}" srcOrd="0" destOrd="0" presId="urn:microsoft.com/office/officeart/2005/8/layout/chevron2"/>
    <dgm:cxn modelId="{077E5418-7FE7-445C-97D2-B753D47F9870}" type="presOf" srcId="{BAC419FD-1ED8-4AF5-A34E-9807FE3EDE03}" destId="{FFF584C7-76F6-4B45-A9A7-9A15237C70E9}" srcOrd="0" destOrd="1" presId="urn:microsoft.com/office/officeart/2005/8/layout/chevron2"/>
    <dgm:cxn modelId="{2E995032-4BB5-490A-BBB7-41ECA8EF9D2D}" srcId="{8CCA1185-6E33-41E1-AE74-BA7A16B23F59}" destId="{9A5921CA-7AC1-4D57-92CE-1AD62D0C83F0}" srcOrd="2" destOrd="0" parTransId="{B3420DB8-4717-4224-A16B-3B17C520DB64}" sibTransId="{62187122-5724-4B8F-9031-B068F5D8D75C}"/>
    <dgm:cxn modelId="{F75DA633-252E-42E4-A7F5-2CF8B2B4956D}" srcId="{8CCA1185-6E33-41E1-AE74-BA7A16B23F59}" destId="{9F3D0017-2C99-4FFC-AABF-3ACA9870CFF2}" srcOrd="0" destOrd="0" parTransId="{26F0A4CE-F29D-46F0-A223-3BE60B9D1EB7}" sibTransId="{6F805241-AE74-4195-AC76-81CC433FB2D4}"/>
    <dgm:cxn modelId="{24519934-F5DB-4A8B-8985-0FFF0D2406C1}" type="presOf" srcId="{8CCA1185-6E33-41E1-AE74-BA7A16B23F59}" destId="{CCD97693-B30B-4BB6-A321-DBEB8757ACE2}" srcOrd="0" destOrd="0" presId="urn:microsoft.com/office/officeart/2005/8/layout/chevron2"/>
    <dgm:cxn modelId="{D9996B37-9C5C-47F2-97BE-91D0A110E307}" srcId="{8CCA1185-6E33-41E1-AE74-BA7A16B23F59}" destId="{F48A21E2-5177-49AC-A803-FA50F7495912}" srcOrd="1" destOrd="0" parTransId="{42E5654F-8723-47F8-A0F0-35858E90AB84}" sibTransId="{5D4C70EC-C5BC-4C1F-8A8C-CB101E1BAE0C}"/>
    <dgm:cxn modelId="{56D3DE3B-F2D8-344F-826F-B9DF9AD20AA6}" srcId="{9A5921CA-7AC1-4D57-92CE-1AD62D0C83F0}" destId="{25515C8E-7803-E14E-B1D0-74B5815AE3D6}" srcOrd="2" destOrd="0" parTransId="{06441650-4A1D-D14E-9ED8-44762443B7E5}" sibTransId="{B0E75038-995A-7B45-B140-5B89B060C9D6}"/>
    <dgm:cxn modelId="{EAFE745F-15D4-46C3-9A3E-B50062768CD1}" type="presOf" srcId="{F48A21E2-5177-49AC-A803-FA50F7495912}" destId="{9E053E78-EF5D-4DDF-A2EF-6B10655FC9C3}" srcOrd="0" destOrd="0" presId="urn:microsoft.com/office/officeart/2005/8/layout/chevron2"/>
    <dgm:cxn modelId="{4CAE5365-70DC-4B0A-8255-0A18988245CE}" srcId="{9A5921CA-7AC1-4D57-92CE-1AD62D0C83F0}" destId="{2EFA63BB-1C78-4BDE-BF0B-23541AF8402D}" srcOrd="0" destOrd="0" parTransId="{FA43B164-AF91-4FEF-9463-E4EB652AE956}" sibTransId="{10D721B1-F80F-4EC0-AB73-3F81AECC8BF8}"/>
    <dgm:cxn modelId="{9259AB65-E1E8-48F2-B4A5-91E24A30F5AD}" srcId="{F48A21E2-5177-49AC-A803-FA50F7495912}" destId="{43C5C6FE-D438-48CF-8CC6-AD9F52572B0A}" srcOrd="1" destOrd="0" parTransId="{34723AF9-B220-48D8-B690-5E4CC009D69F}" sibTransId="{EB24EC7B-A31D-4581-A482-4BCA95E61BBA}"/>
    <dgm:cxn modelId="{AA8DF346-6954-DC48-B367-8C0D4C910A72}" srcId="{F48A21E2-5177-49AC-A803-FA50F7495912}" destId="{7E3567B3-70E4-F845-B777-8AE70840FC59}" srcOrd="2" destOrd="0" parTransId="{8F2D2C30-A0E2-1A47-AC85-47B9E66725FB}" sibTransId="{10B17D5C-5CBA-7C47-83B6-A1E5C488331A}"/>
    <dgm:cxn modelId="{77E74767-1F9E-4159-8548-2E9FF4267803}" type="presOf" srcId="{113DAC05-6C6C-4DC7-BFEC-84497B6CBC5A}" destId="{FFF584C7-76F6-4B45-A9A7-9A15237C70E9}" srcOrd="0" destOrd="2" presId="urn:microsoft.com/office/officeart/2005/8/layout/chevron2"/>
    <dgm:cxn modelId="{0775CA4A-4651-499C-9233-85F4EAF3E528}" srcId="{F48A21E2-5177-49AC-A803-FA50F7495912}" destId="{31C86B08-BAB4-41D5-B86E-2384E7364A42}" srcOrd="0" destOrd="0" parTransId="{026A7C8A-486C-49C0-86CA-F47F94C94454}" sibTransId="{02237682-C80B-4D99-B446-890738111D30}"/>
    <dgm:cxn modelId="{6551436D-4828-462D-96BA-E5692238C6AE}" srcId="{9F3D0017-2C99-4FFC-AABF-3ACA9870CFF2}" destId="{BAC419FD-1ED8-4AF5-A34E-9807FE3EDE03}" srcOrd="1" destOrd="0" parTransId="{BD70D166-8B65-4956-8E1C-CCE1C4C928BC}" sibTransId="{00A44A29-F965-4CAF-BFDB-C00C4050CFFA}"/>
    <dgm:cxn modelId="{0AE3887B-48E4-2F4A-AE03-D99D434A4B07}" srcId="{9A5921CA-7AC1-4D57-92CE-1AD62D0C83F0}" destId="{4B2AAF5A-6E6A-8542-BB3D-4518A61EDB09}" srcOrd="1" destOrd="0" parTransId="{B9633E53-838B-2249-B556-3BD8E37CFB17}" sibTransId="{D76E8125-90B1-B941-AFFE-787DB9C9DDEF}"/>
    <dgm:cxn modelId="{E1655580-5677-4C0B-B962-4BE061089813}" type="presOf" srcId="{31C86B08-BAB4-41D5-B86E-2384E7364A42}" destId="{EC80A6BD-8444-4F79-A018-38D3CFB7939F}" srcOrd="0" destOrd="0" presId="urn:microsoft.com/office/officeart/2005/8/layout/chevron2"/>
    <dgm:cxn modelId="{3566AD83-E580-4FA1-97CE-E774DA796585}" type="presOf" srcId="{9A5921CA-7AC1-4D57-92CE-1AD62D0C83F0}" destId="{AE3BDB34-746F-4C90-ABF0-E45CBE3F9A36}" srcOrd="0" destOrd="0" presId="urn:microsoft.com/office/officeart/2005/8/layout/chevron2"/>
    <dgm:cxn modelId="{8E9B138E-07B2-4D25-8BCE-AFB63ED26CE6}" srcId="{F48A21E2-5177-49AC-A803-FA50F7495912}" destId="{CA3D5415-C8EF-449A-B99E-4E509B706E66}" srcOrd="3" destOrd="0" parTransId="{68F03982-184B-45C9-8100-865211AA98DB}" sibTransId="{E0379F32-2DDF-4123-BC43-FBC893177B34}"/>
    <dgm:cxn modelId="{2A27B49D-52EC-4122-93F8-CE2397BC0977}" type="presOf" srcId="{43C5C6FE-D438-48CF-8CC6-AD9F52572B0A}" destId="{EC80A6BD-8444-4F79-A018-38D3CFB7939F}" srcOrd="0" destOrd="1" presId="urn:microsoft.com/office/officeart/2005/8/layout/chevron2"/>
    <dgm:cxn modelId="{F0C233A3-8A52-6B4B-AA84-31499A5A1942}" type="presOf" srcId="{25515C8E-7803-E14E-B1D0-74B5815AE3D6}" destId="{F0C50C6E-0980-4703-B84E-F1B887FD019D}" srcOrd="0" destOrd="2" presId="urn:microsoft.com/office/officeart/2005/8/layout/chevron2"/>
    <dgm:cxn modelId="{23A23BAE-74A3-49F2-96FC-2CE708F4FC31}" type="presOf" srcId="{2EFA63BB-1C78-4BDE-BF0B-23541AF8402D}" destId="{F0C50C6E-0980-4703-B84E-F1B887FD019D}" srcOrd="0" destOrd="0" presId="urn:microsoft.com/office/officeart/2005/8/layout/chevron2"/>
    <dgm:cxn modelId="{824D3EB5-DDA6-4E98-ADDA-FC4B271EFE61}" type="presOf" srcId="{CA3D5415-C8EF-449A-B99E-4E509B706E66}" destId="{EC80A6BD-8444-4F79-A018-38D3CFB7939F}" srcOrd="0" destOrd="3" presId="urn:microsoft.com/office/officeart/2005/8/layout/chevron2"/>
    <dgm:cxn modelId="{AB430DC1-45F4-43A5-97E2-EB974D6C053A}" srcId="{9F3D0017-2C99-4FFC-AABF-3ACA9870CFF2}" destId="{113DAC05-6C6C-4DC7-BFEC-84497B6CBC5A}" srcOrd="2" destOrd="0" parTransId="{2E6BF140-3252-4D6C-ABC2-B150EADCC016}" sibTransId="{FE96C457-4F27-47E8-9EC1-242FFB190E36}"/>
    <dgm:cxn modelId="{E25E51CC-CFC8-DA4F-8D7B-DF4B932335D8}" type="presOf" srcId="{4B2AAF5A-6E6A-8542-BB3D-4518A61EDB09}" destId="{F0C50C6E-0980-4703-B84E-F1B887FD019D}" srcOrd="0" destOrd="1" presId="urn:microsoft.com/office/officeart/2005/8/layout/chevron2"/>
    <dgm:cxn modelId="{B59706D3-D7D2-4541-ABD4-BEE2445526A6}" type="presOf" srcId="{7E3567B3-70E4-F845-B777-8AE70840FC59}" destId="{EC80A6BD-8444-4F79-A018-38D3CFB7939F}" srcOrd="0" destOrd="2" presId="urn:microsoft.com/office/officeart/2005/8/layout/chevron2"/>
    <dgm:cxn modelId="{D15509DE-8696-453B-870C-34F5E1BA8BB0}" srcId="{9F3D0017-2C99-4FFC-AABF-3ACA9870CFF2}" destId="{31175D10-B3DA-4023-949E-DD65ED2CDF29}" srcOrd="0" destOrd="0" parTransId="{93384EF7-CDCE-4219-9577-7BC145CD61CA}" sibTransId="{551E4F5F-EF67-4579-B772-1C41E0DC7DF6}"/>
    <dgm:cxn modelId="{41289FCE-05D7-4025-943C-E74B741D82A2}" type="presParOf" srcId="{CCD97693-B30B-4BB6-A321-DBEB8757ACE2}" destId="{E1060779-9CAB-432C-942A-8258C4092DA0}" srcOrd="0" destOrd="0" presId="urn:microsoft.com/office/officeart/2005/8/layout/chevron2"/>
    <dgm:cxn modelId="{C9C18D6F-DC09-45CA-A98B-A083FF529C76}" type="presParOf" srcId="{E1060779-9CAB-432C-942A-8258C4092DA0}" destId="{34A304B8-FCA6-4C27-9732-0873523FCE69}" srcOrd="0" destOrd="0" presId="urn:microsoft.com/office/officeart/2005/8/layout/chevron2"/>
    <dgm:cxn modelId="{E4E382AA-169C-4979-B380-B88F902F261E}" type="presParOf" srcId="{E1060779-9CAB-432C-942A-8258C4092DA0}" destId="{FFF584C7-76F6-4B45-A9A7-9A15237C70E9}" srcOrd="1" destOrd="0" presId="urn:microsoft.com/office/officeart/2005/8/layout/chevron2"/>
    <dgm:cxn modelId="{46594921-3DF5-4962-AA41-82BE67DD10C7}" type="presParOf" srcId="{CCD97693-B30B-4BB6-A321-DBEB8757ACE2}" destId="{038A7613-DBF1-4F0C-ABD2-5C35C8BB8A7A}" srcOrd="1" destOrd="0" presId="urn:microsoft.com/office/officeart/2005/8/layout/chevron2"/>
    <dgm:cxn modelId="{6117AF7E-9389-4DAF-83C8-684209BBF8B9}" type="presParOf" srcId="{CCD97693-B30B-4BB6-A321-DBEB8757ACE2}" destId="{486AB6C0-A5D9-4234-A203-DC5D861C9204}" srcOrd="2" destOrd="0" presId="urn:microsoft.com/office/officeart/2005/8/layout/chevron2"/>
    <dgm:cxn modelId="{55606413-08FC-42AE-A24F-C8F8F9769659}" type="presParOf" srcId="{486AB6C0-A5D9-4234-A203-DC5D861C9204}" destId="{9E053E78-EF5D-4DDF-A2EF-6B10655FC9C3}" srcOrd="0" destOrd="0" presId="urn:microsoft.com/office/officeart/2005/8/layout/chevron2"/>
    <dgm:cxn modelId="{78A060EE-1397-4FFA-A886-C287E49C1477}" type="presParOf" srcId="{486AB6C0-A5D9-4234-A203-DC5D861C9204}" destId="{EC80A6BD-8444-4F79-A018-38D3CFB7939F}" srcOrd="1" destOrd="0" presId="urn:microsoft.com/office/officeart/2005/8/layout/chevron2"/>
    <dgm:cxn modelId="{96BBD1DC-C239-4BC9-A62B-52ECEF0DE26C}" type="presParOf" srcId="{CCD97693-B30B-4BB6-A321-DBEB8757ACE2}" destId="{EC11B14B-FB26-4354-8AAC-52602EE3E724}" srcOrd="3" destOrd="0" presId="urn:microsoft.com/office/officeart/2005/8/layout/chevron2"/>
    <dgm:cxn modelId="{81B20B62-41B0-4D0F-848A-8E9AB8D160DB}" type="presParOf" srcId="{CCD97693-B30B-4BB6-A321-DBEB8757ACE2}" destId="{D23B3BF9-3F55-4776-9841-093A68EFFB34}" srcOrd="4" destOrd="0" presId="urn:microsoft.com/office/officeart/2005/8/layout/chevron2"/>
    <dgm:cxn modelId="{38E41513-905F-459E-96C0-87FCE0262E44}" type="presParOf" srcId="{D23B3BF9-3F55-4776-9841-093A68EFFB34}" destId="{AE3BDB34-746F-4C90-ABF0-E45CBE3F9A36}" srcOrd="0" destOrd="0" presId="urn:microsoft.com/office/officeart/2005/8/layout/chevron2"/>
    <dgm:cxn modelId="{F9EFFFDE-3D73-4858-84D1-6BDFBEF2D6B7}" type="presParOf" srcId="{D23B3BF9-3F55-4776-9841-093A68EFFB34}" destId="{F0C50C6E-0980-4703-B84E-F1B887FD019D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90587AB-49DB-4676-BBB7-64594F5C7865}" type="doc">
      <dgm:prSet loTypeId="urn:microsoft.com/office/officeart/2005/8/layout/hList6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765121E-FB55-46DF-BFD8-42479C93F9CF}">
      <dgm:prSet phldrT="[Text]" custT="1"/>
      <dgm:spPr>
        <a:solidFill>
          <a:srgbClr val="339966"/>
        </a:solidFill>
      </dgm:spPr>
      <dgm:t>
        <a:bodyPr/>
        <a:lstStyle/>
        <a:p>
          <a:r>
            <a:rPr lang="en-US" sz="2400" dirty="0"/>
            <a:t>Brand Building</a:t>
          </a:r>
        </a:p>
        <a:p>
          <a:endParaRPr lang="en-US" sz="1100" dirty="0"/>
        </a:p>
      </dgm:t>
    </dgm:pt>
    <dgm:pt modelId="{91CF9E49-3E63-4513-9DEB-20D513EE84AD}" type="parTrans" cxnId="{0B8535FE-F666-4321-925E-8FEA9880E201}">
      <dgm:prSet/>
      <dgm:spPr/>
      <dgm:t>
        <a:bodyPr/>
        <a:lstStyle/>
        <a:p>
          <a:endParaRPr lang="en-US"/>
        </a:p>
      </dgm:t>
    </dgm:pt>
    <dgm:pt modelId="{A83A7ECC-BC91-4B77-A9D0-9A815DFFA2A5}" type="sibTrans" cxnId="{0B8535FE-F666-4321-925E-8FEA9880E201}">
      <dgm:prSet/>
      <dgm:spPr/>
      <dgm:t>
        <a:bodyPr/>
        <a:lstStyle/>
        <a:p>
          <a:endParaRPr lang="en-US"/>
        </a:p>
      </dgm:t>
    </dgm:pt>
    <dgm:pt modelId="{9E7A9EE6-FCD0-4D9D-8726-966086EFEFF4}">
      <dgm:prSet phldrT="[Text]" custT="1"/>
      <dgm:spPr>
        <a:solidFill>
          <a:srgbClr val="339966"/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dirty="0"/>
            <a:t>Showcase the GOGO BAND mission to enable kids to achieve personal success</a:t>
          </a:r>
        </a:p>
      </dgm:t>
    </dgm:pt>
    <dgm:pt modelId="{0EB7C7F6-094C-4B5F-8235-325014A39E1C}" type="parTrans" cxnId="{65F707FC-7E38-416D-B0D1-A7CD01E0180A}">
      <dgm:prSet/>
      <dgm:spPr/>
      <dgm:t>
        <a:bodyPr/>
        <a:lstStyle/>
        <a:p>
          <a:endParaRPr lang="en-US"/>
        </a:p>
      </dgm:t>
    </dgm:pt>
    <dgm:pt modelId="{8053C17B-6A3F-4721-BCD4-7E935E58C253}" type="sibTrans" cxnId="{65F707FC-7E38-416D-B0D1-A7CD01E0180A}">
      <dgm:prSet/>
      <dgm:spPr/>
      <dgm:t>
        <a:bodyPr/>
        <a:lstStyle/>
        <a:p>
          <a:endParaRPr lang="en-US"/>
        </a:p>
      </dgm:t>
    </dgm:pt>
    <dgm:pt modelId="{A54B5B67-39B0-45BD-9376-E6B3ED44D236}">
      <dgm:prSet phldrT="[Text]" custT="1"/>
      <dgm:spPr>
        <a:solidFill>
          <a:srgbClr val="008080"/>
        </a:solidFill>
      </dgm:spPr>
      <dgm:t>
        <a:bodyPr/>
        <a:lstStyle/>
        <a:p>
          <a:r>
            <a:rPr lang="en-US" sz="2400" dirty="0"/>
            <a:t>Messaging</a:t>
          </a:r>
        </a:p>
        <a:p>
          <a:endParaRPr lang="en-US" sz="1100" dirty="0"/>
        </a:p>
      </dgm:t>
    </dgm:pt>
    <dgm:pt modelId="{3E881ADB-32BC-4552-B399-6A8A05C66EF5}" type="parTrans" cxnId="{CBC0056E-B37E-4A5C-B310-C7A944AF6763}">
      <dgm:prSet/>
      <dgm:spPr/>
      <dgm:t>
        <a:bodyPr/>
        <a:lstStyle/>
        <a:p>
          <a:endParaRPr lang="en-US"/>
        </a:p>
      </dgm:t>
    </dgm:pt>
    <dgm:pt modelId="{E2C52EA1-B5C3-4049-BCAE-2150ED5B90DE}" type="sibTrans" cxnId="{CBC0056E-B37E-4A5C-B310-C7A944AF6763}">
      <dgm:prSet/>
      <dgm:spPr/>
      <dgm:t>
        <a:bodyPr/>
        <a:lstStyle/>
        <a:p>
          <a:endParaRPr lang="en-US"/>
        </a:p>
      </dgm:t>
    </dgm:pt>
    <dgm:pt modelId="{27D2F4CA-BF75-4FFA-A254-20965C470473}">
      <dgm:prSet phldrT="[Text]" custT="1"/>
      <dgm:spPr>
        <a:solidFill>
          <a:srgbClr val="008080"/>
        </a:solidFill>
      </dgm:spPr>
      <dgm:t>
        <a:bodyPr/>
        <a:lstStyle/>
        <a:p>
          <a:r>
            <a:rPr lang="en-US" sz="1400" dirty="0"/>
            <a:t>Keep the message simple and not overcomplicated with the detailed “science” behind PE</a:t>
          </a:r>
        </a:p>
      </dgm:t>
    </dgm:pt>
    <dgm:pt modelId="{DC130165-B529-4487-B9DD-FD650C235E9B}" type="parTrans" cxnId="{44D9FA50-D3E4-4AF9-BF97-680882E25698}">
      <dgm:prSet/>
      <dgm:spPr/>
      <dgm:t>
        <a:bodyPr/>
        <a:lstStyle/>
        <a:p>
          <a:endParaRPr lang="en-US"/>
        </a:p>
      </dgm:t>
    </dgm:pt>
    <dgm:pt modelId="{87620E3D-7F5B-48FB-8CF0-BF9354AFD570}" type="sibTrans" cxnId="{44D9FA50-D3E4-4AF9-BF97-680882E25698}">
      <dgm:prSet/>
      <dgm:spPr/>
      <dgm:t>
        <a:bodyPr/>
        <a:lstStyle/>
        <a:p>
          <a:endParaRPr lang="en-US"/>
        </a:p>
      </dgm:t>
    </dgm:pt>
    <dgm:pt modelId="{361CAD79-0B7A-4890-9769-AB506FBC4073}">
      <dgm:prSet phldrT="[Text]" custT="1"/>
      <dgm:spPr>
        <a:solidFill>
          <a:srgbClr val="006666"/>
        </a:solidFill>
      </dgm:spPr>
      <dgm:t>
        <a:bodyPr/>
        <a:lstStyle/>
        <a:p>
          <a:r>
            <a:rPr lang="en-US" sz="2400" dirty="0"/>
            <a:t>Channels</a:t>
          </a:r>
        </a:p>
        <a:p>
          <a:endParaRPr lang="en-US" sz="1100" dirty="0"/>
        </a:p>
      </dgm:t>
    </dgm:pt>
    <dgm:pt modelId="{A38568F0-456A-41F2-B172-8571238A4611}" type="parTrans" cxnId="{1A786472-C7C8-4186-9D25-5D076439858B}">
      <dgm:prSet/>
      <dgm:spPr/>
      <dgm:t>
        <a:bodyPr/>
        <a:lstStyle/>
        <a:p>
          <a:endParaRPr lang="en-US"/>
        </a:p>
      </dgm:t>
    </dgm:pt>
    <dgm:pt modelId="{993FA1FB-41C7-4C21-B4CC-143F6BCA4C45}" type="sibTrans" cxnId="{1A786472-C7C8-4186-9D25-5D076439858B}">
      <dgm:prSet/>
      <dgm:spPr/>
      <dgm:t>
        <a:bodyPr/>
        <a:lstStyle/>
        <a:p>
          <a:endParaRPr lang="en-US"/>
        </a:p>
      </dgm:t>
    </dgm:pt>
    <dgm:pt modelId="{0CCC17AE-FA97-47F7-8DB9-9A0E68DB327B}">
      <dgm:prSet phldrT="[Text]"/>
      <dgm:spPr>
        <a:solidFill>
          <a:srgbClr val="006666"/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dirty="0"/>
            <a:t>Pediatricians are the gateway into the market – credibility</a:t>
          </a:r>
        </a:p>
      </dgm:t>
    </dgm:pt>
    <dgm:pt modelId="{FE435250-B5BF-43A8-8B86-9DD87ECFCD5E}" type="parTrans" cxnId="{0A8D1BED-2411-463F-9170-F3C743E87B6A}">
      <dgm:prSet/>
      <dgm:spPr/>
      <dgm:t>
        <a:bodyPr/>
        <a:lstStyle/>
        <a:p>
          <a:endParaRPr lang="en-US"/>
        </a:p>
      </dgm:t>
    </dgm:pt>
    <dgm:pt modelId="{434714D8-3546-4969-BEC4-5758C3B67919}" type="sibTrans" cxnId="{0A8D1BED-2411-463F-9170-F3C743E87B6A}">
      <dgm:prSet/>
      <dgm:spPr/>
      <dgm:t>
        <a:bodyPr/>
        <a:lstStyle/>
        <a:p>
          <a:endParaRPr lang="en-US"/>
        </a:p>
      </dgm:t>
    </dgm:pt>
    <dgm:pt modelId="{88D38061-CA9E-4F5D-9F8A-4C5A797ACA4E}">
      <dgm:prSet phldrT="[Text]" custT="1"/>
      <dgm:spPr>
        <a:solidFill>
          <a:srgbClr val="339966"/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dirty="0"/>
            <a:t>Maintain reasonable pricing so as not </a:t>
          </a:r>
          <a:r>
            <a:rPr lang="en-US" sz="1400"/>
            <a:t>perceived to </a:t>
          </a:r>
          <a:r>
            <a:rPr lang="en-US" sz="1400" dirty="0"/>
            <a:t>capitalize on the “pain” felt by children</a:t>
          </a:r>
        </a:p>
      </dgm:t>
    </dgm:pt>
    <dgm:pt modelId="{E6C4ED33-E570-4B8E-915A-73B80E3F231C}" type="parTrans" cxnId="{7A51F61C-B27F-4C45-BB15-88ECD9955B7F}">
      <dgm:prSet/>
      <dgm:spPr/>
      <dgm:t>
        <a:bodyPr/>
        <a:lstStyle/>
        <a:p>
          <a:endParaRPr lang="en-US"/>
        </a:p>
      </dgm:t>
    </dgm:pt>
    <dgm:pt modelId="{D228CF5F-C729-4915-A66C-FD5CC57CE1E9}" type="sibTrans" cxnId="{7A51F61C-B27F-4C45-BB15-88ECD9955B7F}">
      <dgm:prSet/>
      <dgm:spPr/>
      <dgm:t>
        <a:bodyPr/>
        <a:lstStyle/>
        <a:p>
          <a:endParaRPr lang="en-US"/>
        </a:p>
      </dgm:t>
    </dgm:pt>
    <dgm:pt modelId="{DAA488C2-2A69-4859-A2A9-30BE838CCD89}">
      <dgm:prSet phldrT="[Text]" custT="1"/>
      <dgm:spPr>
        <a:solidFill>
          <a:srgbClr val="339966"/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endParaRPr lang="en-US" sz="1400" dirty="0"/>
        </a:p>
      </dgm:t>
    </dgm:pt>
    <dgm:pt modelId="{EDDA7C1D-532E-4AAD-8E03-0A58F176FE64}" type="parTrans" cxnId="{6F6F6E0D-37FB-4F82-B4C3-41902E0E1068}">
      <dgm:prSet/>
      <dgm:spPr/>
      <dgm:t>
        <a:bodyPr/>
        <a:lstStyle/>
        <a:p>
          <a:endParaRPr lang="en-US"/>
        </a:p>
      </dgm:t>
    </dgm:pt>
    <dgm:pt modelId="{AE5F71C1-BDD2-45AE-BD65-6F7DB6473F6B}" type="sibTrans" cxnId="{6F6F6E0D-37FB-4F82-B4C3-41902E0E1068}">
      <dgm:prSet/>
      <dgm:spPr/>
      <dgm:t>
        <a:bodyPr/>
        <a:lstStyle/>
        <a:p>
          <a:endParaRPr lang="en-US"/>
        </a:p>
      </dgm:t>
    </dgm:pt>
    <dgm:pt modelId="{08EBC72A-A3AC-4582-A608-021C30927566}">
      <dgm:prSet phldrT="[Text]" custT="1"/>
      <dgm:spPr>
        <a:solidFill>
          <a:srgbClr val="008080"/>
        </a:solidFill>
      </dgm:spPr>
      <dgm:t>
        <a:bodyPr/>
        <a:lstStyle/>
        <a:p>
          <a:r>
            <a:rPr lang="en-US" sz="1400" dirty="0"/>
            <a:t>Stay close to and echo what the parents believe are the root causes of PE</a:t>
          </a:r>
        </a:p>
      </dgm:t>
    </dgm:pt>
    <dgm:pt modelId="{84344DBF-E119-4CC0-B506-DB65CDC7E82A}" type="parTrans" cxnId="{D8C5DAEB-FB9C-4767-891B-B1BB1B5BB93B}">
      <dgm:prSet/>
      <dgm:spPr/>
      <dgm:t>
        <a:bodyPr/>
        <a:lstStyle/>
        <a:p>
          <a:endParaRPr lang="en-US"/>
        </a:p>
      </dgm:t>
    </dgm:pt>
    <dgm:pt modelId="{031218D9-20F6-4449-A7A2-F6A2A531EC7A}" type="sibTrans" cxnId="{D8C5DAEB-FB9C-4767-891B-B1BB1B5BB93B}">
      <dgm:prSet/>
      <dgm:spPr/>
      <dgm:t>
        <a:bodyPr/>
        <a:lstStyle/>
        <a:p>
          <a:endParaRPr lang="en-US"/>
        </a:p>
      </dgm:t>
    </dgm:pt>
    <dgm:pt modelId="{A38BD34D-D299-4E32-B41A-2F8FE8D39C39}">
      <dgm:prSet phldrT="[Text]" custT="1"/>
      <dgm:spPr>
        <a:solidFill>
          <a:srgbClr val="008080"/>
        </a:solidFill>
      </dgm:spPr>
      <dgm:t>
        <a:bodyPr/>
        <a:lstStyle/>
        <a:p>
          <a:endParaRPr lang="en-US" sz="1400" dirty="0"/>
        </a:p>
      </dgm:t>
    </dgm:pt>
    <dgm:pt modelId="{AF47AF6E-8B3F-4695-91D6-6D6992DF2EC7}" type="parTrans" cxnId="{30D16695-B126-4C40-A8E1-5F7FD889D473}">
      <dgm:prSet/>
      <dgm:spPr/>
      <dgm:t>
        <a:bodyPr/>
        <a:lstStyle/>
        <a:p>
          <a:endParaRPr lang="en-US"/>
        </a:p>
      </dgm:t>
    </dgm:pt>
    <dgm:pt modelId="{FAB368DF-9A83-400B-9653-9F510CBECA51}" type="sibTrans" cxnId="{30D16695-B126-4C40-A8E1-5F7FD889D473}">
      <dgm:prSet/>
      <dgm:spPr/>
      <dgm:t>
        <a:bodyPr/>
        <a:lstStyle/>
        <a:p>
          <a:endParaRPr lang="en-US"/>
        </a:p>
      </dgm:t>
    </dgm:pt>
    <dgm:pt modelId="{FC1A1133-27F0-45AE-8E1C-02EBF93FD2B1}">
      <dgm:prSet phldrT="[Text]" custT="1"/>
      <dgm:spPr>
        <a:solidFill>
          <a:srgbClr val="008080"/>
        </a:solidFill>
      </dgm:spPr>
      <dgm:t>
        <a:bodyPr/>
        <a:lstStyle/>
        <a:p>
          <a:r>
            <a:rPr lang="en-US" sz="1400" dirty="0"/>
            <a:t>Connect on the innovation and technology of the solution</a:t>
          </a:r>
        </a:p>
      </dgm:t>
    </dgm:pt>
    <dgm:pt modelId="{37382E94-8C82-48BF-A0B9-5052A29D710B}" type="parTrans" cxnId="{8B33D920-F02D-4E31-A4FB-7613A1E4E8C9}">
      <dgm:prSet/>
      <dgm:spPr/>
      <dgm:t>
        <a:bodyPr/>
        <a:lstStyle/>
        <a:p>
          <a:endParaRPr lang="en-US"/>
        </a:p>
      </dgm:t>
    </dgm:pt>
    <dgm:pt modelId="{8F6122AE-C7B9-460B-BCD6-A4CE956F6417}" type="sibTrans" cxnId="{8B33D920-F02D-4E31-A4FB-7613A1E4E8C9}">
      <dgm:prSet/>
      <dgm:spPr/>
      <dgm:t>
        <a:bodyPr/>
        <a:lstStyle/>
        <a:p>
          <a:endParaRPr lang="en-US"/>
        </a:p>
      </dgm:t>
    </dgm:pt>
    <dgm:pt modelId="{BB904E80-5830-4E78-81E4-7C68AE80D9B2}">
      <dgm:prSet phldrT="[Text]" custT="1"/>
      <dgm:spPr>
        <a:solidFill>
          <a:srgbClr val="008080"/>
        </a:solidFill>
      </dgm:spPr>
      <dgm:t>
        <a:bodyPr/>
        <a:lstStyle/>
        <a:p>
          <a:endParaRPr lang="en-US" sz="1400" dirty="0"/>
        </a:p>
      </dgm:t>
    </dgm:pt>
    <dgm:pt modelId="{8D92C91D-C198-46F8-8B7A-D5FD40EDFA43}" type="parTrans" cxnId="{5F4616E7-BE9A-4E0F-A5F6-26EE3C49EFAC}">
      <dgm:prSet/>
      <dgm:spPr/>
      <dgm:t>
        <a:bodyPr/>
        <a:lstStyle/>
        <a:p>
          <a:endParaRPr lang="en-US"/>
        </a:p>
      </dgm:t>
    </dgm:pt>
    <dgm:pt modelId="{5D0DF603-A7C8-42AC-90F0-0EFD0FB2318C}" type="sibTrans" cxnId="{5F4616E7-BE9A-4E0F-A5F6-26EE3C49EFAC}">
      <dgm:prSet/>
      <dgm:spPr/>
      <dgm:t>
        <a:bodyPr/>
        <a:lstStyle/>
        <a:p>
          <a:endParaRPr lang="en-US"/>
        </a:p>
      </dgm:t>
    </dgm:pt>
    <dgm:pt modelId="{7D6D46F0-8F8C-4BF3-B697-31F8443066C8}">
      <dgm:prSet phldrT="[Text]"/>
      <dgm:spPr>
        <a:solidFill>
          <a:srgbClr val="006666"/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dirty="0"/>
            <a:t>Online and social used for research treatment options and connecting</a:t>
          </a:r>
        </a:p>
      </dgm:t>
    </dgm:pt>
    <dgm:pt modelId="{319C07FB-4480-49FD-BFE9-094254EFF974}" type="parTrans" cxnId="{0D8BC24C-DCBD-473A-8598-7F5B287D0723}">
      <dgm:prSet/>
      <dgm:spPr/>
      <dgm:t>
        <a:bodyPr/>
        <a:lstStyle/>
        <a:p>
          <a:endParaRPr lang="en-US"/>
        </a:p>
      </dgm:t>
    </dgm:pt>
    <dgm:pt modelId="{8597B8C3-FA56-4265-A0DA-E3BBB4098363}" type="sibTrans" cxnId="{0D8BC24C-DCBD-473A-8598-7F5B287D0723}">
      <dgm:prSet/>
      <dgm:spPr/>
      <dgm:t>
        <a:bodyPr/>
        <a:lstStyle/>
        <a:p>
          <a:endParaRPr lang="en-US"/>
        </a:p>
      </dgm:t>
    </dgm:pt>
    <dgm:pt modelId="{81CCCAD3-8E3E-44FD-85A1-0A8067B01AC0}">
      <dgm:prSet phldrT="[Text]"/>
      <dgm:spPr>
        <a:solidFill>
          <a:srgbClr val="006666"/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dirty="0"/>
            <a:t>Ignite a “knowledge” movement by producing an online content factory</a:t>
          </a:r>
        </a:p>
      </dgm:t>
    </dgm:pt>
    <dgm:pt modelId="{CB40B2D9-C11F-40B1-B4A1-031ADC22C47D}" type="parTrans" cxnId="{5F1A4D7F-9612-4873-96BA-463188CAE023}">
      <dgm:prSet/>
      <dgm:spPr/>
      <dgm:t>
        <a:bodyPr/>
        <a:lstStyle/>
        <a:p>
          <a:endParaRPr lang="en-US"/>
        </a:p>
      </dgm:t>
    </dgm:pt>
    <dgm:pt modelId="{AA45E256-54D8-4AB8-89E8-563227621F11}" type="sibTrans" cxnId="{5F1A4D7F-9612-4873-96BA-463188CAE023}">
      <dgm:prSet/>
      <dgm:spPr/>
      <dgm:t>
        <a:bodyPr/>
        <a:lstStyle/>
        <a:p>
          <a:endParaRPr lang="en-US"/>
        </a:p>
      </dgm:t>
    </dgm:pt>
    <dgm:pt modelId="{6AD27881-9764-4D70-8DCC-4A8C893B75B9}">
      <dgm:prSet phldrT="[Text]"/>
      <dgm:spPr>
        <a:solidFill>
          <a:srgbClr val="006666"/>
        </a:solidFill>
      </dgm:spPr>
      <dgm:t>
        <a:bodyPr/>
        <a:lstStyle/>
        <a:p>
          <a:pPr>
            <a:buNone/>
          </a:pPr>
          <a:endParaRPr lang="en-US" sz="1400" dirty="0"/>
        </a:p>
      </dgm:t>
    </dgm:pt>
    <dgm:pt modelId="{85B23407-BA59-441F-9339-3A153309A890}" type="parTrans" cxnId="{24992712-DF75-4B93-ADF9-C4CB91DAAB28}">
      <dgm:prSet/>
      <dgm:spPr/>
      <dgm:t>
        <a:bodyPr/>
        <a:lstStyle/>
        <a:p>
          <a:endParaRPr lang="en-US"/>
        </a:p>
      </dgm:t>
    </dgm:pt>
    <dgm:pt modelId="{DA825B93-D250-459C-AB11-CD303EA89C67}" type="sibTrans" cxnId="{24992712-DF75-4B93-ADF9-C4CB91DAAB28}">
      <dgm:prSet/>
      <dgm:spPr/>
      <dgm:t>
        <a:bodyPr/>
        <a:lstStyle/>
        <a:p>
          <a:endParaRPr lang="en-US"/>
        </a:p>
      </dgm:t>
    </dgm:pt>
    <dgm:pt modelId="{7CFCE236-6D0A-4A08-91A1-E3EE02959572}">
      <dgm:prSet phldrT="[Text]"/>
      <dgm:spPr>
        <a:solidFill>
          <a:srgbClr val="006666"/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endParaRPr lang="en-US" sz="1400" dirty="0"/>
        </a:p>
      </dgm:t>
    </dgm:pt>
    <dgm:pt modelId="{290E8128-687C-4120-A0D3-15639E9B3488}" type="parTrans" cxnId="{0C0EEF18-2AC9-4B33-B95B-4A030E9592B1}">
      <dgm:prSet/>
      <dgm:spPr/>
      <dgm:t>
        <a:bodyPr/>
        <a:lstStyle/>
        <a:p>
          <a:endParaRPr lang="en-US"/>
        </a:p>
      </dgm:t>
    </dgm:pt>
    <dgm:pt modelId="{E7806EA6-87AA-4347-BEAD-5EE83B8EA13E}" type="sibTrans" cxnId="{0C0EEF18-2AC9-4B33-B95B-4A030E9592B1}">
      <dgm:prSet/>
      <dgm:spPr/>
      <dgm:t>
        <a:bodyPr/>
        <a:lstStyle/>
        <a:p>
          <a:endParaRPr lang="en-US"/>
        </a:p>
      </dgm:t>
    </dgm:pt>
    <dgm:pt modelId="{96236237-2125-4A53-83A5-1E248E60FE62}" type="pres">
      <dgm:prSet presAssocID="{290587AB-49DB-4676-BBB7-64594F5C7865}" presName="Name0" presStyleCnt="0">
        <dgm:presLayoutVars>
          <dgm:dir/>
          <dgm:resizeHandles val="exact"/>
        </dgm:presLayoutVars>
      </dgm:prSet>
      <dgm:spPr/>
    </dgm:pt>
    <dgm:pt modelId="{BB2A2407-C2BB-4B9F-9660-84D868D5B3A3}" type="pres">
      <dgm:prSet presAssocID="{B765121E-FB55-46DF-BFD8-42479C93F9CF}" presName="node" presStyleLbl="node1" presStyleIdx="0" presStyleCnt="3" custLinFactNeighborY="-161">
        <dgm:presLayoutVars>
          <dgm:bulletEnabled val="1"/>
        </dgm:presLayoutVars>
      </dgm:prSet>
      <dgm:spPr/>
    </dgm:pt>
    <dgm:pt modelId="{870C8725-5580-4986-8E55-61ED8FE8E66D}" type="pres">
      <dgm:prSet presAssocID="{A83A7ECC-BC91-4B77-A9D0-9A815DFFA2A5}" presName="sibTrans" presStyleCnt="0"/>
      <dgm:spPr/>
    </dgm:pt>
    <dgm:pt modelId="{0E81A9F3-AC93-47DD-823B-467FC99209E6}" type="pres">
      <dgm:prSet presAssocID="{A54B5B67-39B0-45BD-9376-E6B3ED44D236}" presName="node" presStyleLbl="node1" presStyleIdx="1" presStyleCnt="3">
        <dgm:presLayoutVars>
          <dgm:bulletEnabled val="1"/>
        </dgm:presLayoutVars>
      </dgm:prSet>
      <dgm:spPr/>
    </dgm:pt>
    <dgm:pt modelId="{A6337B09-989E-4230-9192-B80804DC322B}" type="pres">
      <dgm:prSet presAssocID="{E2C52EA1-B5C3-4049-BCAE-2150ED5B90DE}" presName="sibTrans" presStyleCnt="0"/>
      <dgm:spPr/>
    </dgm:pt>
    <dgm:pt modelId="{1F5B8DD5-D43B-4927-A87E-8C1A7F83C037}" type="pres">
      <dgm:prSet presAssocID="{361CAD79-0B7A-4890-9769-AB506FBC4073}" presName="node" presStyleLbl="node1" presStyleIdx="2" presStyleCnt="3">
        <dgm:presLayoutVars>
          <dgm:bulletEnabled val="1"/>
        </dgm:presLayoutVars>
      </dgm:prSet>
      <dgm:spPr/>
    </dgm:pt>
  </dgm:ptLst>
  <dgm:cxnLst>
    <dgm:cxn modelId="{6F6F6E0D-37FB-4F82-B4C3-41902E0E1068}" srcId="{B765121E-FB55-46DF-BFD8-42479C93F9CF}" destId="{DAA488C2-2A69-4859-A2A9-30BE838CCD89}" srcOrd="1" destOrd="0" parTransId="{EDDA7C1D-532E-4AAD-8E03-0A58F176FE64}" sibTransId="{AE5F71C1-BDD2-45AE-BD65-6F7DB6473F6B}"/>
    <dgm:cxn modelId="{24992712-DF75-4B93-ADF9-C4CB91DAAB28}" srcId="{361CAD79-0B7A-4890-9769-AB506FBC4073}" destId="{6AD27881-9764-4D70-8DCC-4A8C893B75B9}" srcOrd="3" destOrd="0" parTransId="{85B23407-BA59-441F-9339-3A153309A890}" sibTransId="{DA825B93-D250-459C-AB11-CD303EA89C67}"/>
    <dgm:cxn modelId="{0C0EEF18-2AC9-4B33-B95B-4A030E9592B1}" srcId="{361CAD79-0B7A-4890-9769-AB506FBC4073}" destId="{7CFCE236-6D0A-4A08-91A1-E3EE02959572}" srcOrd="1" destOrd="0" parTransId="{290E8128-687C-4120-A0D3-15639E9B3488}" sibTransId="{E7806EA6-87AA-4347-BEAD-5EE83B8EA13E}"/>
    <dgm:cxn modelId="{74221B19-C5A8-4034-8BC2-91A1C2287EB4}" type="presOf" srcId="{88D38061-CA9E-4F5D-9F8A-4C5A797ACA4E}" destId="{BB2A2407-C2BB-4B9F-9660-84D868D5B3A3}" srcOrd="0" destOrd="3" presId="urn:microsoft.com/office/officeart/2005/8/layout/hList6"/>
    <dgm:cxn modelId="{82CE1F1C-EDD4-41DF-A22A-E907E964C14D}" type="presOf" srcId="{DAA488C2-2A69-4859-A2A9-30BE838CCD89}" destId="{BB2A2407-C2BB-4B9F-9660-84D868D5B3A3}" srcOrd="0" destOrd="2" presId="urn:microsoft.com/office/officeart/2005/8/layout/hList6"/>
    <dgm:cxn modelId="{7A51F61C-B27F-4C45-BB15-88ECD9955B7F}" srcId="{B765121E-FB55-46DF-BFD8-42479C93F9CF}" destId="{88D38061-CA9E-4F5D-9F8A-4C5A797ACA4E}" srcOrd="2" destOrd="0" parTransId="{E6C4ED33-E570-4B8E-915A-73B80E3F231C}" sibTransId="{D228CF5F-C729-4915-A66C-FD5CC57CE1E9}"/>
    <dgm:cxn modelId="{8B33D920-F02D-4E31-A4FB-7613A1E4E8C9}" srcId="{A54B5B67-39B0-45BD-9376-E6B3ED44D236}" destId="{FC1A1133-27F0-45AE-8E1C-02EBF93FD2B1}" srcOrd="4" destOrd="0" parTransId="{37382E94-8C82-48BF-A0B9-5052A29D710B}" sibTransId="{8F6122AE-C7B9-460B-BCD6-A4CE956F6417}"/>
    <dgm:cxn modelId="{90F89F30-5BD5-4374-8773-374A57B9A993}" type="presOf" srcId="{6AD27881-9764-4D70-8DCC-4A8C893B75B9}" destId="{1F5B8DD5-D43B-4927-A87E-8C1A7F83C037}" srcOrd="0" destOrd="4" presId="urn:microsoft.com/office/officeart/2005/8/layout/hList6"/>
    <dgm:cxn modelId="{E2CEE23C-5549-4124-B5B2-A70E04832DB9}" type="presOf" srcId="{08EBC72A-A3AC-4582-A608-021C30927566}" destId="{0E81A9F3-AC93-47DD-823B-467FC99209E6}" srcOrd="0" destOrd="3" presId="urn:microsoft.com/office/officeart/2005/8/layout/hList6"/>
    <dgm:cxn modelId="{FD4D1F3F-4A33-4620-99E7-7FBA3DADFD9A}" type="presOf" srcId="{0CCC17AE-FA97-47F7-8DB9-9A0E68DB327B}" destId="{1F5B8DD5-D43B-4927-A87E-8C1A7F83C037}" srcOrd="0" destOrd="1" presId="urn:microsoft.com/office/officeart/2005/8/layout/hList6"/>
    <dgm:cxn modelId="{0D8BC24C-DCBD-473A-8598-7F5B287D0723}" srcId="{361CAD79-0B7A-4890-9769-AB506FBC4073}" destId="{7D6D46F0-8F8C-4BF3-B697-31F8443066C8}" srcOrd="2" destOrd="0" parTransId="{319C07FB-4480-49FD-BFE9-094254EFF974}" sibTransId="{8597B8C3-FA56-4265-A0DA-E3BBB4098363}"/>
    <dgm:cxn modelId="{CBC0056E-B37E-4A5C-B310-C7A944AF6763}" srcId="{290587AB-49DB-4676-BBB7-64594F5C7865}" destId="{A54B5B67-39B0-45BD-9376-E6B3ED44D236}" srcOrd="1" destOrd="0" parTransId="{3E881ADB-32BC-4552-B399-6A8A05C66EF5}" sibTransId="{E2C52EA1-B5C3-4049-BCAE-2150ED5B90DE}"/>
    <dgm:cxn modelId="{44D9FA50-D3E4-4AF9-BF97-680882E25698}" srcId="{A54B5B67-39B0-45BD-9376-E6B3ED44D236}" destId="{27D2F4CA-BF75-4FFA-A254-20965C470473}" srcOrd="0" destOrd="0" parTransId="{DC130165-B529-4487-B9DD-FD650C235E9B}" sibTransId="{87620E3D-7F5B-48FB-8CF0-BF9354AFD570}"/>
    <dgm:cxn modelId="{1A786472-C7C8-4186-9D25-5D076439858B}" srcId="{290587AB-49DB-4676-BBB7-64594F5C7865}" destId="{361CAD79-0B7A-4890-9769-AB506FBC4073}" srcOrd="2" destOrd="0" parTransId="{A38568F0-456A-41F2-B172-8571238A4611}" sibTransId="{993FA1FB-41C7-4C21-B4CC-143F6BCA4C45}"/>
    <dgm:cxn modelId="{29D86E72-4421-4D67-957A-15601D608954}" type="presOf" srcId="{7CFCE236-6D0A-4A08-91A1-E3EE02959572}" destId="{1F5B8DD5-D43B-4927-A87E-8C1A7F83C037}" srcOrd="0" destOrd="2" presId="urn:microsoft.com/office/officeart/2005/8/layout/hList6"/>
    <dgm:cxn modelId="{8E1FAA72-9444-418F-81E9-D8D849CCA8DA}" type="presOf" srcId="{B765121E-FB55-46DF-BFD8-42479C93F9CF}" destId="{BB2A2407-C2BB-4B9F-9660-84D868D5B3A3}" srcOrd="0" destOrd="0" presId="urn:microsoft.com/office/officeart/2005/8/layout/hList6"/>
    <dgm:cxn modelId="{5F1A4D7F-9612-4873-96BA-463188CAE023}" srcId="{361CAD79-0B7A-4890-9769-AB506FBC4073}" destId="{81CCCAD3-8E3E-44FD-85A1-0A8067B01AC0}" srcOrd="4" destOrd="0" parTransId="{CB40B2D9-C11F-40B1-B4A1-031ADC22C47D}" sibTransId="{AA45E256-54D8-4AB8-89E8-563227621F11}"/>
    <dgm:cxn modelId="{FDD51C8D-2129-46A3-A768-D0CA560E9354}" type="presOf" srcId="{A38BD34D-D299-4E32-B41A-2F8FE8D39C39}" destId="{0E81A9F3-AC93-47DD-823B-467FC99209E6}" srcOrd="0" destOrd="2" presId="urn:microsoft.com/office/officeart/2005/8/layout/hList6"/>
    <dgm:cxn modelId="{30D16695-B126-4C40-A8E1-5F7FD889D473}" srcId="{A54B5B67-39B0-45BD-9376-E6B3ED44D236}" destId="{A38BD34D-D299-4E32-B41A-2F8FE8D39C39}" srcOrd="1" destOrd="0" parTransId="{AF47AF6E-8B3F-4695-91D6-6D6992DF2EC7}" sibTransId="{FAB368DF-9A83-400B-9653-9F510CBECA51}"/>
    <dgm:cxn modelId="{07855E9D-8D23-474A-BE03-3A4B1A990011}" type="presOf" srcId="{9E7A9EE6-FCD0-4D9D-8726-966086EFEFF4}" destId="{BB2A2407-C2BB-4B9F-9660-84D868D5B3A3}" srcOrd="0" destOrd="1" presId="urn:microsoft.com/office/officeart/2005/8/layout/hList6"/>
    <dgm:cxn modelId="{7AE5AFA8-6568-4206-BC51-3356AFF2D028}" type="presOf" srcId="{81CCCAD3-8E3E-44FD-85A1-0A8067B01AC0}" destId="{1F5B8DD5-D43B-4927-A87E-8C1A7F83C037}" srcOrd="0" destOrd="5" presId="urn:microsoft.com/office/officeart/2005/8/layout/hList6"/>
    <dgm:cxn modelId="{25A45EB6-7F20-43DA-B2DA-2A8948D81531}" type="presOf" srcId="{7D6D46F0-8F8C-4BF3-B697-31F8443066C8}" destId="{1F5B8DD5-D43B-4927-A87E-8C1A7F83C037}" srcOrd="0" destOrd="3" presId="urn:microsoft.com/office/officeart/2005/8/layout/hList6"/>
    <dgm:cxn modelId="{6BBDFEC2-0402-4A97-9CD7-B4156E3B27DA}" type="presOf" srcId="{BB904E80-5830-4E78-81E4-7C68AE80D9B2}" destId="{0E81A9F3-AC93-47DD-823B-467FC99209E6}" srcOrd="0" destOrd="4" presId="urn:microsoft.com/office/officeart/2005/8/layout/hList6"/>
    <dgm:cxn modelId="{B291F9D2-B5F0-434B-B8DA-1766A0CCF4FF}" type="presOf" srcId="{FC1A1133-27F0-45AE-8E1C-02EBF93FD2B1}" destId="{0E81A9F3-AC93-47DD-823B-467FC99209E6}" srcOrd="0" destOrd="5" presId="urn:microsoft.com/office/officeart/2005/8/layout/hList6"/>
    <dgm:cxn modelId="{25C7C5D7-11E2-4251-9A18-9551F93DB2DD}" type="presOf" srcId="{A54B5B67-39B0-45BD-9376-E6B3ED44D236}" destId="{0E81A9F3-AC93-47DD-823B-467FC99209E6}" srcOrd="0" destOrd="0" presId="urn:microsoft.com/office/officeart/2005/8/layout/hList6"/>
    <dgm:cxn modelId="{5F4616E7-BE9A-4E0F-A5F6-26EE3C49EFAC}" srcId="{A54B5B67-39B0-45BD-9376-E6B3ED44D236}" destId="{BB904E80-5830-4E78-81E4-7C68AE80D9B2}" srcOrd="3" destOrd="0" parTransId="{8D92C91D-C198-46F8-8B7A-D5FD40EDFA43}" sibTransId="{5D0DF603-A7C8-42AC-90F0-0EFD0FB2318C}"/>
    <dgm:cxn modelId="{5A6272E9-D588-4199-A44F-696ED51DC63B}" type="presOf" srcId="{27D2F4CA-BF75-4FFA-A254-20965C470473}" destId="{0E81A9F3-AC93-47DD-823B-467FC99209E6}" srcOrd="0" destOrd="1" presId="urn:microsoft.com/office/officeart/2005/8/layout/hList6"/>
    <dgm:cxn modelId="{D8C5DAEB-FB9C-4767-891B-B1BB1B5BB93B}" srcId="{A54B5B67-39B0-45BD-9376-E6B3ED44D236}" destId="{08EBC72A-A3AC-4582-A608-021C30927566}" srcOrd="2" destOrd="0" parTransId="{84344DBF-E119-4CC0-B506-DB65CDC7E82A}" sibTransId="{031218D9-20F6-4449-A7A2-F6A2A531EC7A}"/>
    <dgm:cxn modelId="{0A8D1BED-2411-463F-9170-F3C743E87B6A}" srcId="{361CAD79-0B7A-4890-9769-AB506FBC4073}" destId="{0CCC17AE-FA97-47F7-8DB9-9A0E68DB327B}" srcOrd="0" destOrd="0" parTransId="{FE435250-B5BF-43A8-8B86-9DD87ECFCD5E}" sibTransId="{434714D8-3546-4969-BEC4-5758C3B67919}"/>
    <dgm:cxn modelId="{379F20FB-2976-4872-A91D-13AABFCE8D08}" type="presOf" srcId="{361CAD79-0B7A-4890-9769-AB506FBC4073}" destId="{1F5B8DD5-D43B-4927-A87E-8C1A7F83C037}" srcOrd="0" destOrd="0" presId="urn:microsoft.com/office/officeart/2005/8/layout/hList6"/>
    <dgm:cxn modelId="{65F707FC-7E38-416D-B0D1-A7CD01E0180A}" srcId="{B765121E-FB55-46DF-BFD8-42479C93F9CF}" destId="{9E7A9EE6-FCD0-4D9D-8726-966086EFEFF4}" srcOrd="0" destOrd="0" parTransId="{0EB7C7F6-094C-4B5F-8235-325014A39E1C}" sibTransId="{8053C17B-6A3F-4721-BCD4-7E935E58C253}"/>
    <dgm:cxn modelId="{0B8535FE-F666-4321-925E-8FEA9880E201}" srcId="{290587AB-49DB-4676-BBB7-64594F5C7865}" destId="{B765121E-FB55-46DF-BFD8-42479C93F9CF}" srcOrd="0" destOrd="0" parTransId="{91CF9E49-3E63-4513-9DEB-20D513EE84AD}" sibTransId="{A83A7ECC-BC91-4B77-A9D0-9A815DFFA2A5}"/>
    <dgm:cxn modelId="{6BA296FF-CDD4-4375-9D29-17B64FE1FD7F}" type="presOf" srcId="{290587AB-49DB-4676-BBB7-64594F5C7865}" destId="{96236237-2125-4A53-83A5-1E248E60FE62}" srcOrd="0" destOrd="0" presId="urn:microsoft.com/office/officeart/2005/8/layout/hList6"/>
    <dgm:cxn modelId="{8389A3A0-A4B5-4939-BECE-423BEB94C760}" type="presParOf" srcId="{96236237-2125-4A53-83A5-1E248E60FE62}" destId="{BB2A2407-C2BB-4B9F-9660-84D868D5B3A3}" srcOrd="0" destOrd="0" presId="urn:microsoft.com/office/officeart/2005/8/layout/hList6"/>
    <dgm:cxn modelId="{3B8A7336-3E1F-48FC-B245-0D196C77D172}" type="presParOf" srcId="{96236237-2125-4A53-83A5-1E248E60FE62}" destId="{870C8725-5580-4986-8E55-61ED8FE8E66D}" srcOrd="1" destOrd="0" presId="urn:microsoft.com/office/officeart/2005/8/layout/hList6"/>
    <dgm:cxn modelId="{463ED99E-5603-4566-9C12-06F68838815E}" type="presParOf" srcId="{96236237-2125-4A53-83A5-1E248E60FE62}" destId="{0E81A9F3-AC93-47DD-823B-467FC99209E6}" srcOrd="2" destOrd="0" presId="urn:microsoft.com/office/officeart/2005/8/layout/hList6"/>
    <dgm:cxn modelId="{1145DDE4-BAB0-47F3-B307-41B7DFA9A240}" type="presParOf" srcId="{96236237-2125-4A53-83A5-1E248E60FE62}" destId="{A6337B09-989E-4230-9192-B80804DC322B}" srcOrd="3" destOrd="0" presId="urn:microsoft.com/office/officeart/2005/8/layout/hList6"/>
    <dgm:cxn modelId="{E0D2EE02-39E1-4707-BCD1-6E9BBB073AA2}" type="presParOf" srcId="{96236237-2125-4A53-83A5-1E248E60FE62}" destId="{1F5B8DD5-D43B-4927-A87E-8C1A7F83C037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4A304B8-FCA6-4C27-9732-0873523FCE69}">
      <dsp:nvSpPr>
        <dsp:cNvPr id="0" name=""/>
        <dsp:cNvSpPr/>
      </dsp:nvSpPr>
      <dsp:spPr>
        <a:xfrm rot="5400000">
          <a:off x="-229329" y="234179"/>
          <a:ext cx="1528863" cy="1070204"/>
        </a:xfrm>
        <a:prstGeom prst="chevron">
          <a:avLst/>
        </a:prstGeom>
        <a:solidFill>
          <a:srgbClr val="339966"/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Brand</a:t>
          </a:r>
        </a:p>
      </dsp:txBody>
      <dsp:txXfrm rot="-5400000">
        <a:off x="1" y="539951"/>
        <a:ext cx="1070204" cy="458659"/>
      </dsp:txXfrm>
    </dsp:sp>
    <dsp:sp modelId="{FFF584C7-76F6-4B45-A9A7-9A15237C70E9}">
      <dsp:nvSpPr>
        <dsp:cNvPr id="0" name=""/>
        <dsp:cNvSpPr/>
      </dsp:nvSpPr>
      <dsp:spPr>
        <a:xfrm rot="5400000">
          <a:off x="3210778" y="-2135723"/>
          <a:ext cx="993761" cy="527490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600" kern="1200" dirty="0"/>
            <a:t>Strong belief in the GOGO BAND mission to help childr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eeing a child’s accomplishment has greatest impac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600" kern="1200" dirty="0"/>
            <a:t>Consumers wary of fortune seeking pricing policies</a:t>
          </a:r>
        </a:p>
      </dsp:txBody>
      <dsp:txXfrm rot="-5400000">
        <a:off x="1070205" y="53361"/>
        <a:ext cx="5226398" cy="896739"/>
      </dsp:txXfrm>
    </dsp:sp>
    <dsp:sp modelId="{9E053E78-EF5D-4DDF-A2EF-6B10655FC9C3}">
      <dsp:nvSpPr>
        <dsp:cNvPr id="0" name=""/>
        <dsp:cNvSpPr/>
      </dsp:nvSpPr>
      <dsp:spPr>
        <a:xfrm rot="5400000">
          <a:off x="-229329" y="1568369"/>
          <a:ext cx="1528863" cy="1070204"/>
        </a:xfrm>
        <a:prstGeom prst="chevron">
          <a:avLst/>
        </a:prstGeom>
        <a:solidFill>
          <a:srgbClr val="008080"/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Messaging</a:t>
          </a:r>
        </a:p>
      </dsp:txBody>
      <dsp:txXfrm rot="-5400000">
        <a:off x="1" y="1874141"/>
        <a:ext cx="1070204" cy="458659"/>
      </dsp:txXfrm>
    </dsp:sp>
    <dsp:sp modelId="{EC80A6BD-8444-4F79-A018-38D3CFB7939F}">
      <dsp:nvSpPr>
        <dsp:cNvPr id="0" name=""/>
        <dsp:cNvSpPr/>
      </dsp:nvSpPr>
      <dsp:spPr>
        <a:xfrm rot="5400000">
          <a:off x="3210778" y="-792749"/>
          <a:ext cx="993761" cy="527490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600" kern="1200" dirty="0"/>
            <a:t>Parents perplexed as to the root causes of P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>
              <a:latin typeface="+mn-lt"/>
            </a:rPr>
            <a:t>Astounded at the prevalence of the problem in children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Parent’s stress level is high and cannot be underrated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600" kern="1200" dirty="0"/>
            <a:t>GOGO BAND is perceived as innovative and “different” </a:t>
          </a:r>
        </a:p>
      </dsp:txBody>
      <dsp:txXfrm rot="-5400000">
        <a:off x="1070205" y="1396335"/>
        <a:ext cx="5226398" cy="896739"/>
      </dsp:txXfrm>
    </dsp:sp>
    <dsp:sp modelId="{AE3BDB34-746F-4C90-ABF0-E45CBE3F9A36}">
      <dsp:nvSpPr>
        <dsp:cNvPr id="0" name=""/>
        <dsp:cNvSpPr/>
      </dsp:nvSpPr>
      <dsp:spPr>
        <a:xfrm rot="5400000">
          <a:off x="-229329" y="2902559"/>
          <a:ext cx="1528863" cy="1070204"/>
        </a:xfrm>
        <a:prstGeom prst="chevron">
          <a:avLst/>
        </a:prstGeom>
        <a:solidFill>
          <a:srgbClr val="006666"/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Channels</a:t>
          </a:r>
        </a:p>
      </dsp:txBody>
      <dsp:txXfrm rot="-5400000">
        <a:off x="1" y="3208331"/>
        <a:ext cx="1070204" cy="458659"/>
      </dsp:txXfrm>
    </dsp:sp>
    <dsp:sp modelId="{F0C50C6E-0980-4703-B84E-F1B887FD019D}">
      <dsp:nvSpPr>
        <dsp:cNvPr id="0" name=""/>
        <dsp:cNvSpPr/>
      </dsp:nvSpPr>
      <dsp:spPr>
        <a:xfrm rot="5400000">
          <a:off x="3210778" y="532655"/>
          <a:ext cx="993761" cy="527490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0795" rIns="10795" bIns="10795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Pediatricians are the “go-to” adviser for parent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Parent’s will follow doctor’s advice with little hesitation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Opportunity to be the knowledge expert in the market </a:t>
          </a:r>
        </a:p>
      </dsp:txBody>
      <dsp:txXfrm rot="-5400000">
        <a:off x="1070205" y="2721740"/>
        <a:ext cx="5226398" cy="89673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2A2407-C2BB-4B9F-9660-84D868D5B3A3}">
      <dsp:nvSpPr>
        <dsp:cNvPr id="0" name=""/>
        <dsp:cNvSpPr/>
      </dsp:nvSpPr>
      <dsp:spPr>
        <a:xfrm rot="16200000">
          <a:off x="-1427009" y="1427810"/>
          <a:ext cx="4938791" cy="2083169"/>
        </a:xfrm>
        <a:prstGeom prst="flowChartManualOperation">
          <a:avLst/>
        </a:prstGeom>
        <a:solidFill>
          <a:srgbClr val="339966"/>
        </a:solidFill>
        <a:ln w="222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0" tIns="0" rIns="152400" bIns="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Brand Building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400" kern="1200" dirty="0"/>
            <a:t>Showcase the GOGO BAND mission to enable kids to achieve personal succes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400" kern="1200" dirty="0"/>
            <a:t>Maintain reasonable pricing so as not </a:t>
          </a:r>
          <a:r>
            <a:rPr lang="en-US" sz="1400" kern="1200"/>
            <a:t>perceived to </a:t>
          </a:r>
          <a:r>
            <a:rPr lang="en-US" sz="1400" kern="1200" dirty="0"/>
            <a:t>capitalize on the “pain” felt by children</a:t>
          </a:r>
        </a:p>
      </dsp:txBody>
      <dsp:txXfrm rot="5400000">
        <a:off x="802" y="987757"/>
        <a:ext cx="2083169" cy="2963275"/>
      </dsp:txXfrm>
    </dsp:sp>
    <dsp:sp modelId="{0E81A9F3-AC93-47DD-823B-467FC99209E6}">
      <dsp:nvSpPr>
        <dsp:cNvPr id="0" name=""/>
        <dsp:cNvSpPr/>
      </dsp:nvSpPr>
      <dsp:spPr>
        <a:xfrm rot="16200000">
          <a:off x="812397" y="1427810"/>
          <a:ext cx="4938791" cy="2083169"/>
        </a:xfrm>
        <a:prstGeom prst="flowChartManualOperation">
          <a:avLst/>
        </a:prstGeom>
        <a:solidFill>
          <a:srgbClr val="008080"/>
        </a:solidFill>
        <a:ln w="222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0" tIns="0" rIns="152400" bIns="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Messaging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Keep the message simple and not overcomplicated with the detailed “science” behind P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Stay close to and echo what the parents believe are the root causes of P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Connect on the innovation and technology of the solution</a:t>
          </a:r>
        </a:p>
      </dsp:txBody>
      <dsp:txXfrm rot="5400000">
        <a:off x="2240208" y="987757"/>
        <a:ext cx="2083169" cy="2963275"/>
      </dsp:txXfrm>
    </dsp:sp>
    <dsp:sp modelId="{1F5B8DD5-D43B-4927-A87E-8C1A7F83C037}">
      <dsp:nvSpPr>
        <dsp:cNvPr id="0" name=""/>
        <dsp:cNvSpPr/>
      </dsp:nvSpPr>
      <dsp:spPr>
        <a:xfrm rot="16200000">
          <a:off x="3051804" y="1427810"/>
          <a:ext cx="4938791" cy="2083169"/>
        </a:xfrm>
        <a:prstGeom prst="flowChartManualOperation">
          <a:avLst/>
        </a:prstGeom>
        <a:solidFill>
          <a:srgbClr val="006666"/>
        </a:solidFill>
        <a:ln w="222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0" tIns="0" rIns="152400" bIns="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hannels</a:t>
          </a:r>
        </a:p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400" kern="1200" dirty="0"/>
            <a:t>Pediatricians are the gateway into the market – credibility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400" kern="1200" dirty="0"/>
            <a:t>Online and social used for research treatment options and connecti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400" kern="1200" dirty="0"/>
            <a:t>Ignite a “knowledge” movement by producing an online content factory</a:t>
          </a:r>
        </a:p>
      </dsp:txBody>
      <dsp:txXfrm rot="5400000">
        <a:off x="4479615" y="987757"/>
        <a:ext cx="2083169" cy="29632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1E069FE-AE23-4579-B538-DA348D3314A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3075" cy="463550"/>
          </a:xfrm>
          <a:prstGeom prst="rect">
            <a:avLst/>
          </a:prstGeom>
        </p:spPr>
        <p:txBody>
          <a:bodyPr vert="horz" lIns="91660" tIns="45830" rIns="91660" bIns="45830" rtlCol="0"/>
          <a:lstStyle>
            <a:lvl1pPr algn="l" eaLnBrk="1" hangingPunct="1">
              <a:defRPr sz="1200"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CEB014-C19C-4E2C-8498-045C8A9089C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40175" y="0"/>
            <a:ext cx="3013075" cy="463550"/>
          </a:xfrm>
          <a:prstGeom prst="rect">
            <a:avLst/>
          </a:prstGeom>
        </p:spPr>
        <p:txBody>
          <a:bodyPr vert="horz" lIns="91660" tIns="45830" rIns="91660" bIns="45830" rtlCol="0"/>
          <a:lstStyle>
            <a:lvl1pPr algn="r" eaLnBrk="1" hangingPunct="1">
              <a:defRPr sz="1200" smtClean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1pPr>
          </a:lstStyle>
          <a:p>
            <a:pPr>
              <a:defRPr/>
            </a:pPr>
            <a:fld id="{B424890F-5038-4727-951E-6015BF908343}" type="datetimeFigureOut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B03EE5-325B-4F6A-85D7-1B8FEDBE183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75700"/>
            <a:ext cx="3013075" cy="463550"/>
          </a:xfrm>
          <a:prstGeom prst="rect">
            <a:avLst/>
          </a:prstGeom>
        </p:spPr>
        <p:txBody>
          <a:bodyPr vert="horz" lIns="91660" tIns="45830" rIns="91660" bIns="45830" rtlCol="0" anchor="b"/>
          <a:lstStyle>
            <a:lvl1pPr algn="l" eaLnBrk="1" hangingPunct="1">
              <a:defRPr sz="1200"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FC2EBC-09CD-4EE8-A8A3-ABA59F6DC71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40175" y="8775700"/>
            <a:ext cx="3013075" cy="463550"/>
          </a:xfrm>
          <a:prstGeom prst="rect">
            <a:avLst/>
          </a:prstGeom>
        </p:spPr>
        <p:txBody>
          <a:bodyPr vert="horz" lIns="91660" tIns="45830" rIns="91660" bIns="45830" rtlCol="0" anchor="b"/>
          <a:lstStyle>
            <a:lvl1pPr algn="r" eaLnBrk="1" hangingPunct="1">
              <a:defRPr sz="1200" smtClean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1pPr>
          </a:lstStyle>
          <a:p>
            <a:pPr>
              <a:defRPr/>
            </a:pPr>
            <a:fld id="{826557F2-AFD5-48B4-9B00-8D45807CCC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E314FB0-64EE-4741-BED3-18A25517157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3075" cy="463550"/>
          </a:xfrm>
          <a:prstGeom prst="rect">
            <a:avLst/>
          </a:prstGeom>
        </p:spPr>
        <p:txBody>
          <a:bodyPr vert="horz" lIns="91660" tIns="45830" rIns="91660" bIns="4583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2FA7F0-6AD2-4FFB-8C04-14DC45090FD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40175" y="0"/>
            <a:ext cx="3013075" cy="463550"/>
          </a:xfrm>
          <a:prstGeom prst="rect">
            <a:avLst/>
          </a:prstGeom>
        </p:spPr>
        <p:txBody>
          <a:bodyPr vert="horz" lIns="91660" tIns="45830" rIns="91660" bIns="4583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AE1059C-4C43-40CC-9161-02367A9C1D60}" type="datetimeFigureOut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644FC8B3-98E4-4B45-B3F1-0F954619096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400175" y="1155700"/>
            <a:ext cx="4154488" cy="31162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660" tIns="45830" rIns="91660" bIns="4583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CA720D0-2A5E-47A6-A7A4-48610E1AAF1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95325" y="4446588"/>
            <a:ext cx="5564188" cy="3636962"/>
          </a:xfrm>
          <a:prstGeom prst="rect">
            <a:avLst/>
          </a:prstGeom>
        </p:spPr>
        <p:txBody>
          <a:bodyPr vert="horz" lIns="91660" tIns="45830" rIns="91660" bIns="4583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735732-750F-41CD-8DF8-8A383E9AB8A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775700"/>
            <a:ext cx="3013075" cy="463550"/>
          </a:xfrm>
          <a:prstGeom prst="rect">
            <a:avLst/>
          </a:prstGeom>
        </p:spPr>
        <p:txBody>
          <a:bodyPr vert="horz" lIns="91660" tIns="45830" rIns="91660" bIns="4583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6481A1-3123-436F-8493-794920E5FE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40175" y="8775700"/>
            <a:ext cx="3013075" cy="463550"/>
          </a:xfrm>
          <a:prstGeom prst="rect">
            <a:avLst/>
          </a:prstGeom>
        </p:spPr>
        <p:txBody>
          <a:bodyPr vert="horz" lIns="91660" tIns="45830" rIns="91660" bIns="4583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2991378-CE71-459D-898D-53513D959AF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72" charset="-128"/>
        <a:cs typeface="ＭＳ Ｐゴシック" pitchFamily="-7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7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7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7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7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>
            <a:extLst>
              <a:ext uri="{FF2B5EF4-FFF2-40B4-BE49-F238E27FC236}">
                <a16:creationId xmlns:a16="http://schemas.microsoft.com/office/drawing/2014/main" id="{F681BBA8-FB93-4D69-A11E-9CFDE9B2C74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Notes Placeholder 2">
            <a:extLst>
              <a:ext uri="{FF2B5EF4-FFF2-40B4-BE49-F238E27FC236}">
                <a16:creationId xmlns:a16="http://schemas.microsoft.com/office/drawing/2014/main" id="{881E6A30-FF41-48B7-9763-686DDB6781D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ea typeface="ＭＳ Ｐゴシック" panose="020B0600070205080204" pitchFamily="34" charset="-128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D0B67B-ADBB-4C88-BB1D-95402F99EB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A104C26-130A-4EA2-9C61-7A34E49FB99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E352E13D-43E5-4FF5-8304-9DA2E2B289B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6BC3F182-75B0-4157-8E0A-040165672517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AF6FEE2C-0F6B-48D6-9C69-05AB4624957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3926CE02-8966-4058-B767-4110D75C06FF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10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>
            <a:extLst>
              <a:ext uri="{FF2B5EF4-FFF2-40B4-BE49-F238E27FC236}">
                <a16:creationId xmlns:a16="http://schemas.microsoft.com/office/drawing/2014/main" id="{96DA8F5E-6EA3-4848-831C-D66C4753839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60F97C2-9F82-45CD-B120-AE2C823626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8300" indent="-4583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>
                <a:ea typeface="+mn-ea"/>
                <a:cs typeface="+mn-cs"/>
              </a:rPr>
              <a:t>International market</a:t>
            </a:r>
          </a:p>
          <a:p>
            <a:pPr marL="458300" indent="-4583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>
                <a:ea typeface="+mn-ea"/>
                <a:cs typeface="+mn-cs"/>
              </a:rPr>
              <a:t>Grossly underserved</a:t>
            </a:r>
          </a:p>
          <a:p>
            <a:pPr marL="458300" indent="-4583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>
                <a:ea typeface="+mn-ea"/>
                <a:cs typeface="+mn-cs"/>
              </a:rPr>
              <a:t>Niche market</a:t>
            </a:r>
          </a:p>
          <a:p>
            <a:pPr marL="458300" indent="-4583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endParaRPr lang="en-US" dirty="0">
              <a:ea typeface="+mn-ea"/>
              <a:cs typeface="+mn-cs"/>
            </a:endParaRPr>
          </a:p>
          <a:p>
            <a:pPr marL="458300" indent="-4583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>
                <a:ea typeface="+mn-ea"/>
                <a:cs typeface="+mn-cs"/>
              </a:rPr>
              <a:t>17% is TAM</a:t>
            </a:r>
          </a:p>
          <a:p>
            <a:pPr marL="458300" indent="-4583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>
                <a:ea typeface="+mn-ea"/>
                <a:cs typeface="+mn-cs"/>
              </a:rPr>
              <a:t>15% physiological</a:t>
            </a:r>
          </a:p>
          <a:p>
            <a:pPr marL="458300" indent="-4583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>
                <a:ea typeface="+mn-ea"/>
                <a:cs typeface="+mn-cs"/>
              </a:rPr>
              <a:t>75% night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24579" name="Slide Number Placeholder 3">
            <a:extLst>
              <a:ext uri="{FF2B5EF4-FFF2-40B4-BE49-F238E27FC236}">
                <a16:creationId xmlns:a16="http://schemas.microsoft.com/office/drawing/2014/main" id="{A0BF7D0A-39D1-441F-8952-EC9527CC1E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BCF69C1-CDD8-41EE-B5C0-423BD606E529}" type="slidenum">
              <a:rPr lang="en-US">
                <a:ea typeface="ＭＳ Ｐゴシック" pitchFamily="-72" charset="-128"/>
                <a:cs typeface="ＭＳ Ｐゴシック" pitchFamily="-72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>
              <a:ea typeface="ＭＳ Ｐゴシック" pitchFamily="-72" charset="-128"/>
              <a:cs typeface="ＭＳ Ｐゴシック" pitchFamily="-72" charset="-128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>
            <a:extLst>
              <a:ext uri="{FF2B5EF4-FFF2-40B4-BE49-F238E27FC236}">
                <a16:creationId xmlns:a16="http://schemas.microsoft.com/office/drawing/2014/main" id="{AA613400-F8F7-4E79-A83A-DFA9BD4EF89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D75E8D-5BBB-4F0C-AB65-343094D580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8300" indent="-458300" eaLnBrk="1" fontAlgn="auto" hangingPunct="1">
              <a:spcBef>
                <a:spcPts val="0"/>
              </a:spcBef>
              <a:spcAft>
                <a:spcPts val="602"/>
              </a:spcAft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ea typeface="+mn-ea"/>
                <a:cs typeface="+mn-cs"/>
              </a:rPr>
              <a:t>Increased psychological disorders as young as 7 years old</a:t>
            </a:r>
          </a:p>
          <a:p>
            <a:pPr marL="916600" lvl="1" indent="-458300" eaLnBrk="1" fontAlgn="auto" hangingPunct="1">
              <a:spcBef>
                <a:spcPts val="0"/>
              </a:spcBef>
              <a:spcAft>
                <a:spcPts val="602"/>
              </a:spcAft>
              <a:buFont typeface="Tw Cen MT" panose="020B0602020104020603" pitchFamily="34" charset="0"/>
              <a:buChar char="~"/>
              <a:defRPr/>
            </a:pPr>
            <a:r>
              <a:rPr lang="en-US" sz="1400" dirty="0">
                <a:ea typeface="+mn-ea"/>
              </a:rPr>
              <a:t>Early intervention is essential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30723" name="Slide Number Placeholder 3">
            <a:extLst>
              <a:ext uri="{FF2B5EF4-FFF2-40B4-BE49-F238E27FC236}">
                <a16:creationId xmlns:a16="http://schemas.microsoft.com/office/drawing/2014/main" id="{B552D5D5-D16F-490C-831F-BC79E89051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72BB009-A2D9-487C-A3F1-DB3D6898146F}" type="slidenum">
              <a:rPr lang="en-US">
                <a:ea typeface="ＭＳ Ｐゴシック" pitchFamily="-72" charset="-128"/>
                <a:cs typeface="ＭＳ Ｐゴシック" pitchFamily="-72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>
              <a:ea typeface="ＭＳ Ｐゴシック" pitchFamily="-72" charset="-128"/>
              <a:cs typeface="ＭＳ Ｐゴシック" pitchFamily="-72" charset="-128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>
            <a:extLst>
              <a:ext uri="{FF2B5EF4-FFF2-40B4-BE49-F238E27FC236}">
                <a16:creationId xmlns:a16="http://schemas.microsoft.com/office/drawing/2014/main" id="{CC221945-63C2-4C81-8DE3-1B1A46B4AA4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Notes Placeholder 2">
            <a:extLst>
              <a:ext uri="{FF2B5EF4-FFF2-40B4-BE49-F238E27FC236}">
                <a16:creationId xmlns:a16="http://schemas.microsoft.com/office/drawing/2014/main" id="{2478AF46-E41D-4309-BE68-55360FCEEDC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47108" name="Slide Number Placeholder 3">
            <a:extLst>
              <a:ext uri="{FF2B5EF4-FFF2-40B4-BE49-F238E27FC236}">
                <a16:creationId xmlns:a16="http://schemas.microsoft.com/office/drawing/2014/main" id="{8FD78316-52EC-488D-978C-EB293AEB8012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9E17BB57-B9C3-42E3-9B4D-413239800764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13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>
            <a:extLst>
              <a:ext uri="{FF2B5EF4-FFF2-40B4-BE49-F238E27FC236}">
                <a16:creationId xmlns:a16="http://schemas.microsoft.com/office/drawing/2014/main" id="{A0A4C16A-644C-4A2F-931E-21FE51D4293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Notes Placeholder 2">
            <a:extLst>
              <a:ext uri="{FF2B5EF4-FFF2-40B4-BE49-F238E27FC236}">
                <a16:creationId xmlns:a16="http://schemas.microsoft.com/office/drawing/2014/main" id="{451B11E4-230D-40C9-A5D3-4A826A15B95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49156" name="Slide Number Placeholder 3">
            <a:extLst>
              <a:ext uri="{FF2B5EF4-FFF2-40B4-BE49-F238E27FC236}">
                <a16:creationId xmlns:a16="http://schemas.microsoft.com/office/drawing/2014/main" id="{F5253ED3-549A-48E3-9343-462FBB3E0D93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C7B022EE-50CE-4621-9A53-D8DEBB175610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14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>
            <a:extLst>
              <a:ext uri="{FF2B5EF4-FFF2-40B4-BE49-F238E27FC236}">
                <a16:creationId xmlns:a16="http://schemas.microsoft.com/office/drawing/2014/main" id="{5054D8E5-16CE-495E-A813-7BFB92606E9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Notes Placeholder 2">
            <a:extLst>
              <a:ext uri="{FF2B5EF4-FFF2-40B4-BE49-F238E27FC236}">
                <a16:creationId xmlns:a16="http://schemas.microsoft.com/office/drawing/2014/main" id="{936329E7-A9EB-442A-A9DF-B13F14D0F8E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>
              <a:ea typeface="ＭＳ Ｐゴシック" panose="020B0600070205080204" pitchFamily="34" charset="-128"/>
            </a:endParaRPr>
          </a:p>
        </p:txBody>
      </p:sp>
      <p:sp>
        <p:nvSpPr>
          <p:cNvPr id="43011" name="Slide Number Placeholder 3">
            <a:extLst>
              <a:ext uri="{FF2B5EF4-FFF2-40B4-BE49-F238E27FC236}">
                <a16:creationId xmlns:a16="http://schemas.microsoft.com/office/drawing/2014/main" id="{99CA27C9-F652-4F7C-9E3E-F6198E55E0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0105FD-BD14-4F56-852A-C5D74121E9C8}" type="slidenum">
              <a:rPr lang="en-US">
                <a:ea typeface="ＭＳ Ｐゴシック" pitchFamily="-72" charset="-128"/>
                <a:cs typeface="ＭＳ Ｐゴシック" pitchFamily="-72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n-US" dirty="0">
              <a:ea typeface="ＭＳ Ｐゴシック" pitchFamily="-72" charset="-128"/>
              <a:cs typeface="ＭＳ Ｐゴシック" pitchFamily="-72" charset="-128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>
            <a:extLst>
              <a:ext uri="{FF2B5EF4-FFF2-40B4-BE49-F238E27FC236}">
                <a16:creationId xmlns:a16="http://schemas.microsoft.com/office/drawing/2014/main" id="{6CDAABF0-E1D1-4A2F-BC84-B19DC6D6ACA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1" name="Notes Placeholder 2">
            <a:extLst>
              <a:ext uri="{FF2B5EF4-FFF2-40B4-BE49-F238E27FC236}">
                <a16:creationId xmlns:a16="http://schemas.microsoft.com/office/drawing/2014/main" id="{BFCE1F33-0A72-48DF-B74C-9FE3A955C47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53252" name="Slide Number Placeholder 3">
            <a:extLst>
              <a:ext uri="{FF2B5EF4-FFF2-40B4-BE49-F238E27FC236}">
                <a16:creationId xmlns:a16="http://schemas.microsoft.com/office/drawing/2014/main" id="{B0BC9C52-BD2E-47DC-BBFA-2F973AD6E3E7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C79DFB39-4FC3-4BBA-9509-C6B450E0AB63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16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>
            <a:extLst>
              <a:ext uri="{FF2B5EF4-FFF2-40B4-BE49-F238E27FC236}">
                <a16:creationId xmlns:a16="http://schemas.microsoft.com/office/drawing/2014/main" id="{25D17B31-4934-40D7-A919-CF7C0DE04AD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299" name="Notes Placeholder 2">
            <a:extLst>
              <a:ext uri="{FF2B5EF4-FFF2-40B4-BE49-F238E27FC236}">
                <a16:creationId xmlns:a16="http://schemas.microsoft.com/office/drawing/2014/main" id="{EE114780-EB07-4492-8CBC-29AB09CFDE0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>
                <a:ea typeface="ＭＳ Ｐゴシック" panose="020B0600070205080204" pitchFamily="34" charset="-128"/>
              </a:rPr>
              <a:t>No shelf life / expiration date.</a:t>
            </a:r>
          </a:p>
          <a:p>
            <a:pPr eaLnBrk="1" hangingPunct="1">
              <a:spcBef>
                <a:spcPct val="0"/>
              </a:spcBef>
            </a:pPr>
            <a:r>
              <a:rPr lang="en-US" altLang="en-US">
                <a:ea typeface="ＭＳ Ｐゴシック" panose="020B0600070205080204" pitchFamily="34" charset="-128"/>
              </a:rPr>
              <a:t>Future analysis by the medical community of HRV will have future diagnostic value</a:t>
            </a:r>
          </a:p>
        </p:txBody>
      </p:sp>
      <p:sp>
        <p:nvSpPr>
          <p:cNvPr id="40963" name="Slide Number Placeholder 3">
            <a:extLst>
              <a:ext uri="{FF2B5EF4-FFF2-40B4-BE49-F238E27FC236}">
                <a16:creationId xmlns:a16="http://schemas.microsoft.com/office/drawing/2014/main" id="{0D6A6DE1-A9A6-4DD2-88B7-460D63F5C9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DB8E13A-C78C-425A-97C4-2BDED4BEFAE4}" type="slidenum">
              <a:rPr lang="en-US">
                <a:ea typeface="ＭＳ Ｐゴシック" pitchFamily="-72" charset="-128"/>
                <a:cs typeface="ＭＳ Ｐゴシック" pitchFamily="-72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 dirty="0">
              <a:ea typeface="ＭＳ Ｐゴシック" pitchFamily="-72" charset="-128"/>
              <a:cs typeface="ＭＳ Ｐゴシック" pitchFamily="-72" charset="-128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>
            <a:extLst>
              <a:ext uri="{FF2B5EF4-FFF2-40B4-BE49-F238E27FC236}">
                <a16:creationId xmlns:a16="http://schemas.microsoft.com/office/drawing/2014/main" id="{E2D49D2E-759F-4556-B5DD-E6A0C9E706F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9395" name="Notes Placeholder 2">
            <a:extLst>
              <a:ext uri="{FF2B5EF4-FFF2-40B4-BE49-F238E27FC236}">
                <a16:creationId xmlns:a16="http://schemas.microsoft.com/office/drawing/2014/main" id="{0F4138C6-A293-4414-ADE8-7EDACFC0A8D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49155" name="Slide Number Placeholder 3">
            <a:extLst>
              <a:ext uri="{FF2B5EF4-FFF2-40B4-BE49-F238E27FC236}">
                <a16:creationId xmlns:a16="http://schemas.microsoft.com/office/drawing/2014/main" id="{89B485C3-B3AA-44BB-A1EC-11FF4ACE7D60}"/>
              </a:ext>
            </a:extLst>
          </p:cNvPr>
          <p:cNvSpPr txBox="1">
            <a:spLocks noGrp="1"/>
          </p:cNvSpPr>
          <p:nvPr/>
        </p:nvSpPr>
        <p:spPr bwMode="auto">
          <a:xfrm>
            <a:off x="2924175" y="11730038"/>
            <a:ext cx="2236788" cy="619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 eaLnBrk="1" hangingPunct="1">
              <a:defRPr/>
            </a:pPr>
            <a:fld id="{695B9429-4B69-4B68-8292-0413C3ED9886}" type="slidenum">
              <a:rPr lang="en-US" sz="1200">
                <a:latin typeface="+mn-lt"/>
                <a:ea typeface="ＭＳ Ｐゴシック" pitchFamily="-72" charset="-128"/>
                <a:cs typeface="ＭＳ Ｐゴシック" pitchFamily="-72" charset="-128"/>
              </a:rPr>
              <a:pPr algn="r" eaLnBrk="1" hangingPunct="1">
                <a:defRPr/>
              </a:pPr>
              <a:t>18</a:t>
            </a:fld>
            <a:endParaRPr lang="en-US" sz="1200">
              <a:latin typeface="+mn-lt"/>
              <a:ea typeface="ＭＳ Ｐゴシック" pitchFamily="-72" charset="-128"/>
              <a:cs typeface="ＭＳ Ｐゴシック" pitchFamily="-72" charset="-128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>
            <a:extLst>
              <a:ext uri="{FF2B5EF4-FFF2-40B4-BE49-F238E27FC236}">
                <a16:creationId xmlns:a16="http://schemas.microsoft.com/office/drawing/2014/main" id="{61085A4B-27FF-4A58-9C45-82771ABB159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Notes Placeholder 2">
            <a:extLst>
              <a:ext uri="{FF2B5EF4-FFF2-40B4-BE49-F238E27FC236}">
                <a16:creationId xmlns:a16="http://schemas.microsoft.com/office/drawing/2014/main" id="{64E172E1-2B3A-47E2-A781-81A087746D4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29 sec</a:t>
            </a:r>
          </a:p>
          <a:p>
            <a:pPr eaLnBrk="1" hangingPunct="1">
              <a:spcBef>
                <a:spcPct val="0"/>
              </a:spcBef>
            </a:pPr>
            <a:endParaRPr lang="en-US" altLang="en-US" sz="140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Our go-to-market strategy is multi-channeled and targeted to moms. </a:t>
            </a:r>
          </a:p>
          <a:p>
            <a:pPr eaLnBrk="1" hangingPunct="1">
              <a:spcBef>
                <a:spcPct val="0"/>
              </a:spcBef>
            </a:pPr>
            <a:endParaRPr lang="en-US" altLang="en-US" sz="140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The most important being our online and direct selling efforts and leveraging pediatricians and urologists who are key influencers in a parent’s search for treatment options.</a:t>
            </a:r>
          </a:p>
          <a:p>
            <a:pPr eaLnBrk="1" hangingPunct="1">
              <a:spcBef>
                <a:spcPct val="0"/>
              </a:spcBef>
            </a:pPr>
            <a:endParaRPr lang="en-US" altLang="en-US" sz="140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We expect a 70% unit margin at an average system price of $250 and our system is covered by most FSA and HSA insurance plans.</a:t>
            </a:r>
          </a:p>
        </p:txBody>
      </p:sp>
      <p:sp>
        <p:nvSpPr>
          <p:cNvPr id="59395" name="Slide Number Placeholder 3">
            <a:extLst>
              <a:ext uri="{FF2B5EF4-FFF2-40B4-BE49-F238E27FC236}">
                <a16:creationId xmlns:a16="http://schemas.microsoft.com/office/drawing/2014/main" id="{8564E2D3-EF56-44AD-9295-2315157C4FB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806BA6-C6C3-4837-AA00-E7DA9F1FAE91}" type="slidenum">
              <a:rPr lang="en-US">
                <a:ea typeface="ＭＳ Ｐゴシック" pitchFamily="-72" charset="-128"/>
                <a:cs typeface="ＭＳ Ｐゴシック" pitchFamily="-72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en-US">
              <a:ea typeface="ＭＳ Ｐゴシック" pitchFamily="-72" charset="-128"/>
              <a:cs typeface="ＭＳ Ｐゴシック" pitchFamily="-72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3E2118C3-99F2-4019-A84A-4E7CB17E693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AA5E84F5-90AF-4839-BC42-B0E8C5D8491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4580" name="Slide Number Placeholder 3">
            <a:extLst>
              <a:ext uri="{FF2B5EF4-FFF2-40B4-BE49-F238E27FC236}">
                <a16:creationId xmlns:a16="http://schemas.microsoft.com/office/drawing/2014/main" id="{C485378D-CAF8-4A5F-930D-E546DADF2A9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B1966A62-14BB-45C1-976C-46789E90212E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2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Image Placeholder 1">
            <a:extLst>
              <a:ext uri="{FF2B5EF4-FFF2-40B4-BE49-F238E27FC236}">
                <a16:creationId xmlns:a16="http://schemas.microsoft.com/office/drawing/2014/main" id="{10D3695A-90C5-4D12-B3AE-4BFD2EBFABC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491" name="Notes Placeholder 2">
            <a:extLst>
              <a:ext uri="{FF2B5EF4-FFF2-40B4-BE49-F238E27FC236}">
                <a16:creationId xmlns:a16="http://schemas.microsoft.com/office/drawing/2014/main" id="{B65CDFA2-34CF-4CE2-A4E5-EA3E2FA6297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29 sec</a:t>
            </a:r>
          </a:p>
          <a:p>
            <a:pPr eaLnBrk="1" hangingPunct="1">
              <a:spcBef>
                <a:spcPct val="0"/>
              </a:spcBef>
            </a:pPr>
            <a:endParaRPr lang="en-US" altLang="en-US" sz="140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Our go-to-market strategy is multi-channeled and targeted to moms. </a:t>
            </a:r>
          </a:p>
          <a:p>
            <a:pPr eaLnBrk="1" hangingPunct="1">
              <a:spcBef>
                <a:spcPct val="0"/>
              </a:spcBef>
            </a:pPr>
            <a:endParaRPr lang="en-US" altLang="en-US" sz="140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The most important being our online and direct selling efforts and leveraging pediatricians and urologists who are key influencers in a parent’s search for treatment options.</a:t>
            </a:r>
          </a:p>
          <a:p>
            <a:pPr eaLnBrk="1" hangingPunct="1">
              <a:spcBef>
                <a:spcPct val="0"/>
              </a:spcBef>
            </a:pPr>
            <a:endParaRPr lang="en-US" altLang="en-US" sz="140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We expect a 70% unit margin at an average system price of $250 and our system is covered by most FSA and HSA insurance plans.</a:t>
            </a:r>
          </a:p>
        </p:txBody>
      </p:sp>
      <p:sp>
        <p:nvSpPr>
          <p:cNvPr id="63492" name="Slide Number Placeholder 3">
            <a:extLst>
              <a:ext uri="{FF2B5EF4-FFF2-40B4-BE49-F238E27FC236}">
                <a16:creationId xmlns:a16="http://schemas.microsoft.com/office/drawing/2014/main" id="{5D3C153E-7378-4418-AE50-E41697F166B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8610CF3-CE6B-41CE-8402-2D7380E83A45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>
            <a:extLst>
              <a:ext uri="{FF2B5EF4-FFF2-40B4-BE49-F238E27FC236}">
                <a16:creationId xmlns:a16="http://schemas.microsoft.com/office/drawing/2014/main" id="{AF8E95A1-14AD-410D-B21B-8035B2FCAC5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Notes Placeholder 2">
            <a:extLst>
              <a:ext uri="{FF2B5EF4-FFF2-40B4-BE49-F238E27FC236}">
                <a16:creationId xmlns:a16="http://schemas.microsoft.com/office/drawing/2014/main" id="{788BF5BE-AF6B-458A-8B0B-671CA69BBA5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29 sec</a:t>
            </a:r>
          </a:p>
          <a:p>
            <a:pPr eaLnBrk="1" hangingPunct="1">
              <a:spcBef>
                <a:spcPct val="0"/>
              </a:spcBef>
            </a:pPr>
            <a:endParaRPr lang="en-US" altLang="en-US" sz="140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Our go-to-market strategy is multi-channeled and targeted to moms. </a:t>
            </a:r>
          </a:p>
          <a:p>
            <a:pPr eaLnBrk="1" hangingPunct="1">
              <a:spcBef>
                <a:spcPct val="0"/>
              </a:spcBef>
            </a:pPr>
            <a:endParaRPr lang="en-US" altLang="en-US" sz="140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The most important being our online and direct selling efforts and leveraging pediatricians and urologists who are key influencers in a parent’s search for treatment options.</a:t>
            </a:r>
          </a:p>
          <a:p>
            <a:pPr eaLnBrk="1" hangingPunct="1">
              <a:spcBef>
                <a:spcPct val="0"/>
              </a:spcBef>
            </a:pPr>
            <a:endParaRPr lang="en-US" altLang="en-US" sz="1400"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We expect a 70% unit margin at an average system price of $250 and our system is covered by most FSA and HSA insurance plans.</a:t>
            </a:r>
          </a:p>
        </p:txBody>
      </p:sp>
      <p:sp>
        <p:nvSpPr>
          <p:cNvPr id="65540" name="Slide Number Placeholder 3">
            <a:extLst>
              <a:ext uri="{FF2B5EF4-FFF2-40B4-BE49-F238E27FC236}">
                <a16:creationId xmlns:a16="http://schemas.microsoft.com/office/drawing/2014/main" id="{E795BAA5-715C-4A78-96E0-D3E46EA9D5D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A83A40A-3ADA-48CE-9A89-5116D4AA7DB5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>
            <a:extLst>
              <a:ext uri="{FF2B5EF4-FFF2-40B4-BE49-F238E27FC236}">
                <a16:creationId xmlns:a16="http://schemas.microsoft.com/office/drawing/2014/main" id="{44DB0B2B-D64F-4C97-8AAF-3E1E66D2646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9635" name="Notes Placeholder 2">
            <a:extLst>
              <a:ext uri="{FF2B5EF4-FFF2-40B4-BE49-F238E27FC236}">
                <a16:creationId xmlns:a16="http://schemas.microsoft.com/office/drawing/2014/main" id="{482542FB-EAEB-48ED-BA96-40F20EBFE95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69636" name="Slide Number Placeholder 3">
            <a:extLst>
              <a:ext uri="{FF2B5EF4-FFF2-40B4-BE49-F238E27FC236}">
                <a16:creationId xmlns:a16="http://schemas.microsoft.com/office/drawing/2014/main" id="{9EE22E48-58E1-4638-B38E-AFBAF7ADEB65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739E77EA-D94F-4FD6-BFAD-B429A5A89AC0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22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Image Placeholder 1">
            <a:extLst>
              <a:ext uri="{FF2B5EF4-FFF2-40B4-BE49-F238E27FC236}">
                <a16:creationId xmlns:a16="http://schemas.microsoft.com/office/drawing/2014/main" id="{6A71E1AB-ABF0-4146-81DA-F0344F6FFE1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Notes Placeholder 2">
            <a:extLst>
              <a:ext uri="{FF2B5EF4-FFF2-40B4-BE49-F238E27FC236}">
                <a16:creationId xmlns:a16="http://schemas.microsoft.com/office/drawing/2014/main" id="{E056F51B-9BBC-4A2B-B19F-61BFB96C6F7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1684" name="Slide Number Placeholder 3">
            <a:extLst>
              <a:ext uri="{FF2B5EF4-FFF2-40B4-BE49-F238E27FC236}">
                <a16:creationId xmlns:a16="http://schemas.microsoft.com/office/drawing/2014/main" id="{AEE5A4D0-BCD5-481D-9C6E-AAA2770DBB79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6F13DE2D-812A-4E5E-84CF-6B38C5F69754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23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>
            <a:extLst>
              <a:ext uri="{FF2B5EF4-FFF2-40B4-BE49-F238E27FC236}">
                <a16:creationId xmlns:a16="http://schemas.microsoft.com/office/drawing/2014/main" id="{D65809A4-4A22-47D7-B096-C2392C89F46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7827" name="Notes Placeholder 2">
            <a:extLst>
              <a:ext uri="{FF2B5EF4-FFF2-40B4-BE49-F238E27FC236}">
                <a16:creationId xmlns:a16="http://schemas.microsoft.com/office/drawing/2014/main" id="{77174848-C32F-42AB-BB60-D980878E892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7828" name="Slide Number Placeholder 3">
            <a:extLst>
              <a:ext uri="{FF2B5EF4-FFF2-40B4-BE49-F238E27FC236}">
                <a16:creationId xmlns:a16="http://schemas.microsoft.com/office/drawing/2014/main" id="{A89D13ED-CE96-451C-9B2F-28A911239033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1CF38A95-16AF-4876-B2EF-4724DE7F4284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24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>
            <a:extLst>
              <a:ext uri="{FF2B5EF4-FFF2-40B4-BE49-F238E27FC236}">
                <a16:creationId xmlns:a16="http://schemas.microsoft.com/office/drawing/2014/main" id="{AD80A925-3956-4EDD-8FB9-BA656BDA29C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9875" name="Notes Placeholder 2">
            <a:extLst>
              <a:ext uri="{FF2B5EF4-FFF2-40B4-BE49-F238E27FC236}">
                <a16:creationId xmlns:a16="http://schemas.microsoft.com/office/drawing/2014/main" id="{C6521F28-A6E5-4294-8A9B-39CE56AF05F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9876" name="Slide Number Placeholder 3">
            <a:extLst>
              <a:ext uri="{FF2B5EF4-FFF2-40B4-BE49-F238E27FC236}">
                <a16:creationId xmlns:a16="http://schemas.microsoft.com/office/drawing/2014/main" id="{1A51DCEF-2CF6-4A3A-A7EC-E9B9B74DD5CF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631238"/>
            <a:ext cx="301307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E0C9516C-3745-4D3A-AC55-A6790C149D59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25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Slide Image Placeholder 1">
            <a:extLst>
              <a:ext uri="{FF2B5EF4-FFF2-40B4-BE49-F238E27FC236}">
                <a16:creationId xmlns:a16="http://schemas.microsoft.com/office/drawing/2014/main" id="{59FE4EDA-82D2-467A-B0F3-B2E20D6D4C1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3" name="Notes Placeholder 2">
            <a:extLst>
              <a:ext uri="{FF2B5EF4-FFF2-40B4-BE49-F238E27FC236}">
                <a16:creationId xmlns:a16="http://schemas.microsoft.com/office/drawing/2014/main" id="{843A2BC8-A421-4D42-9C83-9DB06BFD7E6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1924" name="Slide Number Placeholder 3">
            <a:extLst>
              <a:ext uri="{FF2B5EF4-FFF2-40B4-BE49-F238E27FC236}">
                <a16:creationId xmlns:a16="http://schemas.microsoft.com/office/drawing/2014/main" id="{B20E24C6-C636-41D3-93F5-D2C71DD83278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4CF260F8-35DB-481D-8436-16A3904F43AD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26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Slide Image Placeholder 1">
            <a:extLst>
              <a:ext uri="{FF2B5EF4-FFF2-40B4-BE49-F238E27FC236}">
                <a16:creationId xmlns:a16="http://schemas.microsoft.com/office/drawing/2014/main" id="{A5A90BA6-E105-41B6-951A-116E324F00D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3971" name="Notes Placeholder 2">
            <a:extLst>
              <a:ext uri="{FF2B5EF4-FFF2-40B4-BE49-F238E27FC236}">
                <a16:creationId xmlns:a16="http://schemas.microsoft.com/office/drawing/2014/main" id="{3977E9FB-7862-4205-AE1F-39062D782CB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</a:rPr>
              <a:t>20 sec</a:t>
            </a:r>
          </a:p>
          <a:p>
            <a:pPr eaLnBrk="1" hangingPunct="1">
              <a:spcBef>
                <a:spcPct val="0"/>
              </a:spcBef>
            </a:pPr>
            <a:endParaRPr lang="en-US" altLang="en-US" sz="1400"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</a:rPr>
              <a:t>In closing, I not only believe this is a wonderful business opportunity, but that giving these children back their childhood is a noble endeavor. </a:t>
            </a:r>
          </a:p>
          <a:p>
            <a:pPr eaLnBrk="1" hangingPunct="1">
              <a:spcBef>
                <a:spcPct val="0"/>
              </a:spcBef>
            </a:pPr>
            <a:endParaRPr lang="en-US" altLang="en-US" sz="1400"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pPr eaLnBrk="1" hangingPunct="1">
              <a:spcBef>
                <a:spcPct val="0"/>
              </a:spcBef>
            </a:pPr>
            <a:r>
              <a:rPr lang="en-US" altLang="en-US" sz="1400">
                <a:latin typeface="Arial" panose="020B0604020202020204" pitchFamily="34" charset="0"/>
                <a:ea typeface="ＭＳ Ｐゴシック" panose="020B0600070205080204" pitchFamily="34" charset="-128"/>
              </a:rPr>
              <a:t>Thank you very much.</a:t>
            </a:r>
          </a:p>
        </p:txBody>
      </p:sp>
      <p:sp>
        <p:nvSpPr>
          <p:cNvPr id="83972" name="Slide Number Placeholder 3">
            <a:extLst>
              <a:ext uri="{FF2B5EF4-FFF2-40B4-BE49-F238E27FC236}">
                <a16:creationId xmlns:a16="http://schemas.microsoft.com/office/drawing/2014/main" id="{E06DAB74-B39D-497A-98A8-3EEEB5B8851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0CFF6B0A-C91F-4E08-A5B9-D90AF384E981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27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Slide Image Placeholder 1">
            <a:extLst>
              <a:ext uri="{FF2B5EF4-FFF2-40B4-BE49-F238E27FC236}">
                <a16:creationId xmlns:a16="http://schemas.microsoft.com/office/drawing/2014/main" id="{2BE41DBD-3CD8-4172-9292-68F6B6C32F9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6019" name="Notes Placeholder 2">
            <a:extLst>
              <a:ext uri="{FF2B5EF4-FFF2-40B4-BE49-F238E27FC236}">
                <a16:creationId xmlns:a16="http://schemas.microsoft.com/office/drawing/2014/main" id="{6398FBA4-B671-4720-9C87-4F8F93A253B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>
              <a:ea typeface="ＭＳ Ｐゴシック" panose="020B0600070205080204" pitchFamily="34" charset="-128"/>
            </a:endParaRPr>
          </a:p>
        </p:txBody>
      </p:sp>
      <p:sp>
        <p:nvSpPr>
          <p:cNvPr id="45059" name="Slide Number Placeholder 3">
            <a:extLst>
              <a:ext uri="{FF2B5EF4-FFF2-40B4-BE49-F238E27FC236}">
                <a16:creationId xmlns:a16="http://schemas.microsoft.com/office/drawing/2014/main" id="{2B1BFBDC-758D-4A21-B764-7C16E0A1B5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01E0567-602E-4D37-8F0C-14EAF4E0D847}" type="slidenum">
              <a:rPr lang="en-US">
                <a:ea typeface="ＭＳ Ｐゴシック" pitchFamily="-72" charset="-128"/>
                <a:cs typeface="ＭＳ Ｐゴシック" pitchFamily="-72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8</a:t>
            </a:fld>
            <a:endParaRPr lang="en-US">
              <a:ea typeface="ＭＳ Ｐゴシック" pitchFamily="-72" charset="-128"/>
              <a:cs typeface="ＭＳ Ｐゴシック" pitchFamily="-72" charset="-128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Slide Image Placeholder 1">
            <a:extLst>
              <a:ext uri="{FF2B5EF4-FFF2-40B4-BE49-F238E27FC236}">
                <a16:creationId xmlns:a16="http://schemas.microsoft.com/office/drawing/2014/main" id="{6550530D-0AE0-45C2-BFB6-149783A3854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Notes Placeholder 2">
            <a:extLst>
              <a:ext uri="{FF2B5EF4-FFF2-40B4-BE49-F238E27FC236}">
                <a16:creationId xmlns:a16="http://schemas.microsoft.com/office/drawing/2014/main" id="{511D1EB5-B6C5-46D2-B16D-4B11B6E0712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342900" lvl="1" eaLnBrk="1" hangingPunct="1"/>
            <a:r>
              <a:rPr lang="en-US" altLang="en-US" sz="1400">
                <a:latin typeface="Tw Cen MT" panose="020B0602020104020603" pitchFamily="34" charset="0"/>
                <a:ea typeface="ＭＳ Ｐゴシック" panose="020B0600070205080204" pitchFamily="34" charset="-128"/>
              </a:rPr>
              <a:t>Pull-ups ~ $2+ Billion  </a:t>
            </a:r>
          </a:p>
          <a:p>
            <a:pPr marL="342900" lvl="1" eaLnBrk="1" hangingPunct="1"/>
            <a:r>
              <a:rPr lang="en-US" altLang="en-US" sz="1400">
                <a:latin typeface="Tw Cen MT" panose="020B0602020104020603" pitchFamily="34" charset="0"/>
                <a:ea typeface="ＭＳ Ｐゴシック" panose="020B0600070205080204" pitchFamily="34" charset="-128"/>
              </a:rPr>
              <a:t>Drugs  ~ $300 to $350 Million</a:t>
            </a:r>
          </a:p>
          <a:p>
            <a:pPr marL="342900" lvl="1" eaLnBrk="1" hangingPunct="1">
              <a:spcAft>
                <a:spcPts val="1200"/>
              </a:spcAft>
            </a:pPr>
            <a:r>
              <a:rPr lang="en-US" altLang="en-US" sz="1400">
                <a:latin typeface="Tw Cen MT" panose="020B0602020104020603" pitchFamily="34" charset="0"/>
                <a:ea typeface="ＭＳ Ｐゴシック" panose="020B0600070205080204" pitchFamily="34" charset="-128"/>
              </a:rPr>
              <a:t>Product ~ $200 to $300 Million</a:t>
            </a:r>
          </a:p>
          <a:p>
            <a:pPr marL="342900" lvl="1" eaLnBrk="1" hangingPunct="1">
              <a:spcAft>
                <a:spcPts val="1200"/>
              </a:spcAft>
            </a:pPr>
            <a:r>
              <a:rPr lang="en-US" altLang="en-US" sz="1400">
                <a:latin typeface="Tw Cen MT" panose="020B0602020104020603" pitchFamily="34" charset="0"/>
                <a:ea typeface="ＭＳ Ｐゴシック" panose="020B0600070205080204" pitchFamily="34" charset="-128"/>
              </a:rPr>
              <a:t>Adult enuresis (AE) affects over 2-4% individuals annually</a:t>
            </a:r>
          </a:p>
          <a:p>
            <a:pPr marL="342900" lvl="1" eaLnBrk="1" hangingPunct="1">
              <a:spcAft>
                <a:spcPts val="1200"/>
              </a:spcAft>
            </a:pPr>
            <a:endParaRPr lang="en-US" altLang="en-US" sz="1400">
              <a:latin typeface="Tw Cen MT" panose="020B0602020104020603" pitchFamily="34" charset="0"/>
              <a:ea typeface="ＭＳ Ｐゴシック" panose="020B0600070205080204" pitchFamily="34" charset="-128"/>
            </a:endParaRPr>
          </a:p>
          <a:p>
            <a:pPr eaLnBrk="1" hangingPunct="1">
              <a:spcBef>
                <a:spcPct val="0"/>
              </a:spcBef>
            </a:pPr>
            <a:endParaRPr lang="en-US" altLang="en-US" sz="1400">
              <a:latin typeface="Tw Cen MT" panose="020B0602020104020603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6627" name="Slide Number Placeholder 3">
            <a:extLst>
              <a:ext uri="{FF2B5EF4-FFF2-40B4-BE49-F238E27FC236}">
                <a16:creationId xmlns:a16="http://schemas.microsoft.com/office/drawing/2014/main" id="{A70224A5-7916-413A-BCC3-0BBC2F7356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C5E72F4-BD6C-4E9A-9B6F-453E8EABD59A}" type="slidenum">
              <a:rPr lang="en-US">
                <a:ea typeface="ＭＳ Ｐゴシック" pitchFamily="-72" charset="-128"/>
                <a:cs typeface="ＭＳ Ｐゴシック" pitchFamily="-72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9</a:t>
            </a:fld>
            <a:endParaRPr lang="en-US" dirty="0">
              <a:ea typeface="ＭＳ Ｐゴシック" pitchFamily="-72" charset="-128"/>
              <a:cs typeface="ＭＳ Ｐゴシック" pitchFamily="-72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>
            <a:extLst>
              <a:ext uri="{FF2B5EF4-FFF2-40B4-BE49-F238E27FC236}">
                <a16:creationId xmlns:a16="http://schemas.microsoft.com/office/drawing/2014/main" id="{E15E6054-646C-4E7A-8FDD-511560034BD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es Placeholder 2">
            <a:extLst>
              <a:ext uri="{FF2B5EF4-FFF2-40B4-BE49-F238E27FC236}">
                <a16:creationId xmlns:a16="http://schemas.microsoft.com/office/drawing/2014/main" id="{99D4FB60-D9CD-4762-8027-5135BFC0B10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342900" lvl="1" eaLnBrk="1" hangingPunct="1"/>
            <a:r>
              <a:rPr lang="en-US" altLang="en-US" sz="1400">
                <a:latin typeface="Tw Cen MT" panose="020B0602020104020603" pitchFamily="34" charset="0"/>
                <a:ea typeface="ＭＳ Ｐゴシック" panose="020B0600070205080204" pitchFamily="34" charset="-128"/>
              </a:rPr>
              <a:t>Pull-ups ~ $2+ Billion  </a:t>
            </a:r>
          </a:p>
          <a:p>
            <a:pPr marL="342900" lvl="1" eaLnBrk="1" hangingPunct="1"/>
            <a:r>
              <a:rPr lang="en-US" altLang="en-US" sz="1400">
                <a:latin typeface="Tw Cen MT" panose="020B0602020104020603" pitchFamily="34" charset="0"/>
                <a:ea typeface="ＭＳ Ｐゴシック" panose="020B0600070205080204" pitchFamily="34" charset="-128"/>
              </a:rPr>
              <a:t>Drugs  ~ $300 to $350 Million</a:t>
            </a:r>
          </a:p>
          <a:p>
            <a:pPr marL="342900" lvl="1" eaLnBrk="1" hangingPunct="1">
              <a:spcAft>
                <a:spcPts val="1200"/>
              </a:spcAft>
            </a:pPr>
            <a:r>
              <a:rPr lang="en-US" altLang="en-US" sz="1400">
                <a:latin typeface="Tw Cen MT" panose="020B0602020104020603" pitchFamily="34" charset="0"/>
                <a:ea typeface="ＭＳ Ｐゴシック" panose="020B0600070205080204" pitchFamily="34" charset="-128"/>
              </a:rPr>
              <a:t>Product ~ $200 to $300 Million</a:t>
            </a:r>
          </a:p>
          <a:p>
            <a:pPr marL="342900" lvl="1" eaLnBrk="1" hangingPunct="1">
              <a:spcAft>
                <a:spcPts val="1200"/>
              </a:spcAft>
            </a:pPr>
            <a:r>
              <a:rPr lang="en-US" altLang="en-US" sz="1400">
                <a:latin typeface="Tw Cen MT" panose="020B0602020104020603" pitchFamily="34" charset="0"/>
                <a:ea typeface="ＭＳ Ｐゴシック" panose="020B0600070205080204" pitchFamily="34" charset="-128"/>
              </a:rPr>
              <a:t>Adult enuresis (AE) affects over 2-4% individuals annually</a:t>
            </a:r>
          </a:p>
          <a:p>
            <a:pPr marL="342900" lvl="1" eaLnBrk="1" hangingPunct="1">
              <a:spcAft>
                <a:spcPts val="1200"/>
              </a:spcAft>
            </a:pPr>
            <a:endParaRPr lang="en-US" altLang="en-US" sz="1400">
              <a:latin typeface="Tw Cen MT" panose="020B0602020104020603" pitchFamily="34" charset="0"/>
              <a:ea typeface="ＭＳ Ｐゴシック" panose="020B0600070205080204" pitchFamily="34" charset="-128"/>
            </a:endParaRPr>
          </a:p>
          <a:p>
            <a:pPr eaLnBrk="1" hangingPunct="1">
              <a:spcBef>
                <a:spcPct val="0"/>
              </a:spcBef>
            </a:pPr>
            <a:endParaRPr lang="en-US" altLang="en-US" sz="1400">
              <a:latin typeface="Tw Cen MT" panose="020B0602020104020603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8E62E0C1-4F84-43D0-8BA4-755852F31B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89F676C-590C-4AB4-9D2F-84A326F10FC9}" type="slidenum">
              <a:rPr lang="en-US">
                <a:ea typeface="ＭＳ Ｐゴシック" pitchFamily="-72" charset="-128"/>
                <a:cs typeface="ＭＳ Ｐゴシック" pitchFamily="-72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dirty="0">
              <a:ea typeface="ＭＳ Ｐゴシック" pitchFamily="-72" charset="-128"/>
              <a:cs typeface="ＭＳ Ｐゴシック" pitchFamily="-72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>
            <a:extLst>
              <a:ext uri="{FF2B5EF4-FFF2-40B4-BE49-F238E27FC236}">
                <a16:creationId xmlns:a16="http://schemas.microsoft.com/office/drawing/2014/main" id="{683EE8AC-9A23-40FE-A5B4-B23F3382B9E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>
            <a:extLst>
              <a:ext uri="{FF2B5EF4-FFF2-40B4-BE49-F238E27FC236}">
                <a16:creationId xmlns:a16="http://schemas.microsoft.com/office/drawing/2014/main" id="{505DC4CD-3A33-4C34-BEE7-8FB90DCBFC7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8676" name="Slide Number Placeholder 3">
            <a:extLst>
              <a:ext uri="{FF2B5EF4-FFF2-40B4-BE49-F238E27FC236}">
                <a16:creationId xmlns:a16="http://schemas.microsoft.com/office/drawing/2014/main" id="{622DFE60-8149-4BA2-9600-7AAAA6E6D70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7F540250-A295-4E04-92BF-F98D3918E4D5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4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>
            <a:extLst>
              <a:ext uri="{FF2B5EF4-FFF2-40B4-BE49-F238E27FC236}">
                <a16:creationId xmlns:a16="http://schemas.microsoft.com/office/drawing/2014/main" id="{5E995047-BE26-4231-A2A0-752F081F736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>
            <a:extLst>
              <a:ext uri="{FF2B5EF4-FFF2-40B4-BE49-F238E27FC236}">
                <a16:creationId xmlns:a16="http://schemas.microsoft.com/office/drawing/2014/main" id="{E209BFFE-80FC-498E-B0DA-92E4D16719F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30724" name="Slide Number Placeholder 3">
            <a:extLst>
              <a:ext uri="{FF2B5EF4-FFF2-40B4-BE49-F238E27FC236}">
                <a16:creationId xmlns:a16="http://schemas.microsoft.com/office/drawing/2014/main" id="{38016CE2-8165-42F1-8E6C-2EBCA6CFAD10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D96C3C41-33D6-43C6-86BB-6D89D8313B27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5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>
            <a:extLst>
              <a:ext uri="{FF2B5EF4-FFF2-40B4-BE49-F238E27FC236}">
                <a16:creationId xmlns:a16="http://schemas.microsoft.com/office/drawing/2014/main" id="{C20AACEF-6C78-4A18-B12A-E0CA706AF36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>
            <a:extLst>
              <a:ext uri="{FF2B5EF4-FFF2-40B4-BE49-F238E27FC236}">
                <a16:creationId xmlns:a16="http://schemas.microsoft.com/office/drawing/2014/main" id="{643D6E48-944A-4708-A93F-FB8EDF90248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51203" name="Slide Number Placeholder 3">
            <a:extLst>
              <a:ext uri="{FF2B5EF4-FFF2-40B4-BE49-F238E27FC236}">
                <a16:creationId xmlns:a16="http://schemas.microsoft.com/office/drawing/2014/main" id="{B67EDF24-718E-4F95-8136-6F3F17C29DED}"/>
              </a:ext>
            </a:extLst>
          </p:cNvPr>
          <p:cNvSpPr txBox="1">
            <a:spLocks noGrp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660" tIns="45830" rIns="91660" bIns="45830" anchor="b"/>
          <a:lstStyle/>
          <a:p>
            <a:pPr algn="r" eaLnBrk="1" hangingPunct="1">
              <a:defRPr/>
            </a:pPr>
            <a:fld id="{F313ED66-4E4A-41F1-8126-DEA505FF1F1A}" type="slidenum">
              <a:rPr lang="en-US" sz="1200">
                <a:latin typeface="+mn-lt"/>
                <a:ea typeface="ＭＳ Ｐゴシック" pitchFamily="-72" charset="-128"/>
                <a:cs typeface="ＭＳ Ｐゴシック" pitchFamily="-72" charset="-128"/>
              </a:rPr>
              <a:pPr algn="r" eaLnBrk="1" hangingPunct="1">
                <a:defRPr/>
              </a:pPr>
              <a:t>6</a:t>
            </a:fld>
            <a:endParaRPr lang="en-US" sz="1200">
              <a:latin typeface="+mn-lt"/>
              <a:ea typeface="ＭＳ Ｐゴシック" pitchFamily="-72" charset="-128"/>
              <a:cs typeface="ＭＳ Ｐゴシック" pitchFamily="-72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>
            <a:extLst>
              <a:ext uri="{FF2B5EF4-FFF2-40B4-BE49-F238E27FC236}">
                <a16:creationId xmlns:a16="http://schemas.microsoft.com/office/drawing/2014/main" id="{3B92BD2F-D3F0-4BF8-B3DE-9E056416DDC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es Placeholder 2">
            <a:extLst>
              <a:ext uri="{FF2B5EF4-FFF2-40B4-BE49-F238E27FC236}">
                <a16:creationId xmlns:a16="http://schemas.microsoft.com/office/drawing/2014/main" id="{A89855DC-721B-45C7-A9E4-79A5C6FF1E8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34820" name="Slide Number Placeholder 3">
            <a:extLst>
              <a:ext uri="{FF2B5EF4-FFF2-40B4-BE49-F238E27FC236}">
                <a16:creationId xmlns:a16="http://schemas.microsoft.com/office/drawing/2014/main" id="{B36F6DD2-C892-4901-B308-2EB6A37E89E9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230F2344-3511-47E3-A197-7DAF287A1D88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7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>
            <a:extLst>
              <a:ext uri="{FF2B5EF4-FFF2-40B4-BE49-F238E27FC236}">
                <a16:creationId xmlns:a16="http://schemas.microsoft.com/office/drawing/2014/main" id="{87501460-BEFF-454B-B97B-B193CB6DCE3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Notes Placeholder 2">
            <a:extLst>
              <a:ext uri="{FF2B5EF4-FFF2-40B4-BE49-F238E27FC236}">
                <a16:creationId xmlns:a16="http://schemas.microsoft.com/office/drawing/2014/main" id="{1EBD2102-79FF-492A-BA94-0157DDE00DD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z="240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36868" name="Slide Number Placeholder 3">
            <a:extLst>
              <a:ext uri="{FF2B5EF4-FFF2-40B4-BE49-F238E27FC236}">
                <a16:creationId xmlns:a16="http://schemas.microsoft.com/office/drawing/2014/main" id="{260D4AFA-C755-464C-84FE-EDA7228FDD39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940175" y="8775700"/>
            <a:ext cx="30130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60" tIns="45830" rIns="91660" bIns="4583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/>
            <a:fld id="{1C4C9B2B-B399-4293-A54B-C2BF1F2CE42C}" type="slidenum">
              <a:rPr lang="en-US" altLang="en-US" sz="1200">
                <a:latin typeface="Calibri" panose="020F0502020204030204" pitchFamily="34" charset="0"/>
              </a:rPr>
              <a:pPr algn="r" eaLnBrk="1" hangingPunct="1"/>
              <a:t>8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>
            <a:extLst>
              <a:ext uri="{FF2B5EF4-FFF2-40B4-BE49-F238E27FC236}">
                <a16:creationId xmlns:a16="http://schemas.microsoft.com/office/drawing/2014/main" id="{83D36939-C5CF-43DF-A956-46C453AE884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>
            <a:extLst>
              <a:ext uri="{FF2B5EF4-FFF2-40B4-BE49-F238E27FC236}">
                <a16:creationId xmlns:a16="http://schemas.microsoft.com/office/drawing/2014/main" id="{89249CC7-0119-46C4-802A-44E2F6A2124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ea typeface="ＭＳ Ｐゴシック" panose="020B0600070205080204" pitchFamily="34" charset="-128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72E0F4-2C7C-434B-AF70-DABA79D81F2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FFBC9D2-AD73-4777-A27B-77C300C5874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13259" y="1300786"/>
            <a:ext cx="6517482" cy="2509213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13259" y="3886201"/>
            <a:ext cx="6517482" cy="1371599"/>
          </a:xfrm>
        </p:spPr>
        <p:txBody>
          <a:bodyPr/>
          <a:lstStyle>
            <a:lvl1pPr marL="0" indent="0" algn="ctr">
              <a:buNone/>
              <a:defRPr sz="2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0F5E90-8ECA-41C2-85DE-1348EC8609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EE38E9-E4B1-4DC4-B6C1-3F708FB814C6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775678-5AF7-4D5D-831C-EBCDDDD60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0A12BD-3D79-456D-911D-A9BD489F4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7AE050-C5E8-400B-8C0E-6414A55CFAA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22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346" y="4289374"/>
            <a:ext cx="7773324" cy="81161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88558" y="698261"/>
            <a:ext cx="7366899" cy="3214136"/>
          </a:xfrm>
          <a:prstGeom prst="roundRect">
            <a:avLst>
              <a:gd name="adj" fmla="val 4944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331" y="5108728"/>
            <a:ext cx="7773339" cy="682472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BA83E9-A07C-4392-9E88-C18C6BB4D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E4D185-484A-4657-A85E-15C972C32DBA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4B2EB4-4089-4898-910B-07B0B53DEC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169340-0F26-4B1D-B070-B69582CD8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C3E498-D4CA-480C-B5C2-309A2F342E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0953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331" y="609600"/>
            <a:ext cx="7773339" cy="3427245"/>
          </a:xfrm>
        </p:spPr>
        <p:txBody>
          <a:bodyPr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331" y="4204821"/>
            <a:ext cx="7773339" cy="1586380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A6BE7B-9D16-416B-8DD7-83488EF819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380B03-7BDF-43C9-99D2-18702F4C52A2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2495B2-2A1A-4CE1-A809-FBFAC20556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93B29D-99F3-4E5B-99C9-6DA9BE5D16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5BB7B3-8B9A-4F33-9DD4-F1D2259416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41284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B8F561B-C0BB-46C2-B400-0515CC7222B9}"/>
              </a:ext>
            </a:extLst>
          </p:cNvPr>
          <p:cNvSpPr txBox="1"/>
          <p:nvPr/>
        </p:nvSpPr>
        <p:spPr>
          <a:xfrm>
            <a:off x="738188" y="887413"/>
            <a:ext cx="546100" cy="585787"/>
          </a:xfrm>
          <a:prstGeom prst="rect">
            <a:avLst/>
          </a:prstGeom>
        </p:spPr>
        <p:txBody>
          <a:bodyPr anchor="ctr"/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eaLnBrk="1" hangingPunct="1">
              <a:defRPr/>
            </a:pPr>
            <a:r>
              <a:rPr lang="en-US" sz="8000" dirty="0">
                <a:effectLst/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“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9DC832-76B1-42A0-B670-56B82156EDF0}"/>
              </a:ext>
            </a:extLst>
          </p:cNvPr>
          <p:cNvSpPr txBox="1"/>
          <p:nvPr/>
        </p:nvSpPr>
        <p:spPr>
          <a:xfrm>
            <a:off x="7850188" y="3119438"/>
            <a:ext cx="554037" cy="585787"/>
          </a:xfrm>
          <a:prstGeom prst="rect">
            <a:avLst/>
          </a:prstGeom>
        </p:spPr>
        <p:txBody>
          <a:bodyPr anchor="ctr"/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 eaLnBrk="1" hangingPunct="1">
              <a:defRPr/>
            </a:pPr>
            <a:r>
              <a:rPr lang="en-US" sz="8000" dirty="0">
                <a:effectLst/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4659" y="872588"/>
            <a:ext cx="6977064" cy="2729915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290484" y="3610032"/>
            <a:ext cx="6564224" cy="594788"/>
          </a:xfrm>
        </p:spPr>
        <p:txBody>
          <a:bodyPr anchor="t"/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331" y="4372797"/>
            <a:ext cx="7773339" cy="1421053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1884B521-F3A0-4F52-84AF-E9E0A72F4C5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940C19-AFFA-49F9-A3A0-8D0AE9F8E67F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AC9804FC-DCA7-4B39-8A2B-384FD8AB78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D5F24C98-BDD5-458F-BFC7-18B0C8182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FB0357-086B-45A1-89F1-17A07A5F24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035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331" y="2138722"/>
            <a:ext cx="7773339" cy="2511835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331" y="4662335"/>
            <a:ext cx="7773339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4BCF27-3A1B-4132-8B13-D911441C5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61A464-4E0F-403E-B957-1C169FA893AB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13A5A6-086E-4ED2-9A6D-AEF956CCF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DD8401-162E-4945-AA83-539FE1346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21F504-45C5-4913-BAEB-1C0F5922AF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4654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85331" y="609600"/>
            <a:ext cx="7773339" cy="16050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685331" y="2367093"/>
            <a:ext cx="2474232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7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331" y="2943356"/>
            <a:ext cx="2474232" cy="2847845"/>
          </a:xfrm>
        </p:spPr>
        <p:txBody>
          <a:bodyPr anchor="t"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339292" y="2367093"/>
            <a:ext cx="246864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7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3331012" y="2943356"/>
            <a:ext cx="2477513" cy="2847845"/>
          </a:xfrm>
        </p:spPr>
        <p:txBody>
          <a:bodyPr anchor="t"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979974" y="2367093"/>
            <a:ext cx="2478696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7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5979974" y="2943356"/>
            <a:ext cx="2478696" cy="2847845"/>
          </a:xfrm>
        </p:spPr>
        <p:txBody>
          <a:bodyPr anchor="t"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2FF95A62-EE70-404A-9F8F-2C4C19BCBD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D9C136-3C93-432F-82A5-6FC72A818FCE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5C06E0B1-46E8-4D56-8629-8673F3DE31C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24F777D8-0B1D-4666-A7E3-30508E196D3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881360-B083-42A0-95E9-4548950019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3715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685331" y="610772"/>
            <a:ext cx="7773339" cy="160392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685331" y="4204820"/>
            <a:ext cx="2472307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7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85331" y="2367093"/>
            <a:ext cx="2472307" cy="1524000"/>
          </a:xfrm>
          <a:prstGeom prst="roundRect">
            <a:avLst>
              <a:gd name="adj" fmla="val 9363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685331" y="4781082"/>
            <a:ext cx="2472307" cy="1010118"/>
          </a:xfrm>
        </p:spPr>
        <p:txBody>
          <a:bodyPr anchor="t"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332069" y="4204820"/>
            <a:ext cx="247637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7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331011" y="2367093"/>
            <a:ext cx="2477514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3331011" y="4781081"/>
            <a:ext cx="2477514" cy="1010119"/>
          </a:xfrm>
        </p:spPr>
        <p:txBody>
          <a:bodyPr anchor="t"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979974" y="4204820"/>
            <a:ext cx="247551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7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5979974" y="2367093"/>
            <a:ext cx="2478696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5979880" y="4781079"/>
            <a:ext cx="2478790" cy="1010121"/>
          </a:xfrm>
        </p:spPr>
        <p:txBody>
          <a:bodyPr anchor="t"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Date Placeholder 2">
            <a:extLst>
              <a:ext uri="{FF2B5EF4-FFF2-40B4-BE49-F238E27FC236}">
                <a16:creationId xmlns:a16="http://schemas.microsoft.com/office/drawing/2014/main" id="{B7EDD379-E814-445B-AA64-7CBDEA370E6A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F1659A-DDAA-436B-9B55-15158823F3B1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26A6EC76-FDD1-4B87-B734-0028467377CA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4C9F2598-2E8D-414C-8494-F59E728A8406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AB29FC-152E-4FBC-9E4A-465AC50CCB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120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685331" y="2367094"/>
            <a:ext cx="7773339" cy="342410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D7F7D0-89F3-464A-AA5C-536DB9A424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3226F3-733B-4401-8D1E-9CD5675C2142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F67ECA-AF03-4883-89E7-5C088A8108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950C95-4BBB-446A-9FD2-BFE536B5615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2027DE-C757-43EA-9FFD-E38B1CD08B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501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609602"/>
            <a:ext cx="1914995" cy="518159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685331" y="609602"/>
            <a:ext cx="5744043" cy="518159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B0CD9-BB35-4130-9262-95C04A4F2BF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71C07B-1B04-4000-8C95-ECE995E17132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5A830A-DBA0-4402-B4CC-544429306DC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E771AF-B3ED-4BA3-963C-1EFBAD5175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DB88F0-694B-4C92-B756-E18593B962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8057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685330" y="2367093"/>
            <a:ext cx="7772870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B0CFCC-8128-4CC4-8B28-BC17D63E61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FF1484-A81E-43DF-82E8-E4D4FEE9E911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267EA3-49A8-43F1-B2BF-2A5331C0132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FF612E-BE1B-4F8C-822A-CDA4BC6F5DD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DC8A99-BC50-4D2A-8484-CA8F755AC1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7512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331" y="828564"/>
            <a:ext cx="7763814" cy="2736819"/>
          </a:xfrm>
        </p:spPr>
        <p:txBody>
          <a:bodyPr anchor="b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331" y="3657458"/>
            <a:ext cx="7763814" cy="1368183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10690B-A438-4F2F-AD37-987A411FAC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F9CB10-E307-4D7E-A210-AFE4E92B6A98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2CC4FE-E1FB-49DB-9608-E74BF763B4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ADAA1F-6A0B-4A47-92C7-4A766A9EA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76DBD6-61E5-4B6D-A923-D4C99AD75C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6490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85332" y="618518"/>
            <a:ext cx="7773338" cy="15961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685330" y="2367093"/>
            <a:ext cx="3829520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4629150" y="2367093"/>
            <a:ext cx="3829050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E63D62-C251-4BC8-A9BF-55A9C986AD5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0EC125-AEB9-4033-BBEF-D0DC355E67E7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3E73E1-C0DB-40D2-8812-7364C39CE2E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43B020-7E1B-4D3F-880C-6B4FD1106E0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36B6BF-98EC-4ADA-8048-BF8CCA807E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613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85332" y="618518"/>
            <a:ext cx="7773338" cy="15961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746" y="2371018"/>
            <a:ext cx="3655106" cy="679994"/>
          </a:xfrm>
        </p:spPr>
        <p:txBody>
          <a:bodyPr anchor="b">
            <a:noAutofit/>
          </a:bodyPr>
          <a:lstStyle>
            <a:lvl1pPr marL="0" indent="0">
              <a:lnSpc>
                <a:spcPct val="7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685331" y="3051013"/>
            <a:ext cx="3829520" cy="2740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97317" y="2371018"/>
            <a:ext cx="3661353" cy="679994"/>
          </a:xfrm>
        </p:spPr>
        <p:txBody>
          <a:bodyPr anchor="b">
            <a:noAutofit/>
          </a:bodyPr>
          <a:lstStyle>
            <a:lvl1pPr marL="0" indent="0">
              <a:lnSpc>
                <a:spcPct val="7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4629150" y="3051013"/>
            <a:ext cx="3829051" cy="2740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398EBAA-FA23-4462-985F-E8B2EFA18CD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012D79-10CA-48B6-B8A0-0B0456771303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A49F16-07CF-439D-A79D-EBA7232489E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AB57A1-DE12-409E-A450-7FFE26B243E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6F46CC-C76D-4AC2-AAE0-BA9D822C49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328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861C33-C789-4A7F-9A4A-2C36BA46D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AFE78A-3E17-4529-92EB-0EE2A47611C8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861FD2-B2D6-4AD5-A18F-E261D9A7D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1B1DC2-B005-45B4-B513-FF29F7DB4B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7EAA5D-2BC4-4749-9ACD-406653B201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050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4C1B69-0080-4757-A26C-8B3A3B2BA4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EDF633-82DE-4DB6-806D-FCA18688189E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D2602F-4058-46F9-8BDF-2524F94FE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5B146A-1C32-4A8C-85ED-68818AC047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60E015-1551-467E-8D37-1DE16ABAAE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8691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331" y="609600"/>
            <a:ext cx="2951766" cy="2023252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3808547" y="609601"/>
            <a:ext cx="4650122" cy="5181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331" y="2632852"/>
            <a:ext cx="2951767" cy="3158348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58830D-2789-478A-A4A6-2445D5C0F73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32CE5E-BAA4-4278-B387-30AA06348AE8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3437C4-C709-4DA2-ACE4-33C790EB573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0F9055-5852-4B27-9C7B-CA10785E24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D911A-4C54-403D-B460-2ABEA609BB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5198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332" y="609600"/>
            <a:ext cx="4129618" cy="2023254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04270" y="609601"/>
            <a:ext cx="3005851" cy="5181600"/>
          </a:xfrm>
          <a:prstGeom prst="roundRect">
            <a:avLst>
              <a:gd name="adj" fmla="val 4943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346" y="2632853"/>
            <a:ext cx="4129604" cy="3158347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2AAE60-112E-41D7-B23C-1944CB2E2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369F39-3BB7-4C2A-8FE0-759141F82F77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652EA0-295A-4BB0-B22C-F5E0D6DD5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347FA6-0AF5-4F52-91B4-753BEE076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20559A-CDA1-45BB-9F07-12CCF66CB3E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93253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DROBO-FS\QuickDrops\JB\PPTX NG\Droplets\LightingOverlay.png">
            <a:extLst>
              <a:ext uri="{FF2B5EF4-FFF2-40B4-BE49-F238E27FC236}">
                <a16:creationId xmlns:a16="http://schemas.microsoft.com/office/drawing/2014/main" id="{EB96E310-2886-48E4-987D-30EE2DC35E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096325-6715-4E04-BB86-6C6C4056E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19125"/>
            <a:ext cx="7772400" cy="1595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8FCDDD-14B1-447E-A1F5-96E0C8C516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2366963"/>
            <a:ext cx="7772400" cy="34242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E2EB78-4569-4781-866A-F93C1D2E1B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59450" y="58832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hangingPunct="1">
              <a:defRPr sz="1000" smtClean="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1pPr>
          </a:lstStyle>
          <a:p>
            <a:pPr>
              <a:defRPr/>
            </a:pPr>
            <a:fld id="{0CBF97BE-35B6-4E7F-9F93-EC99A1539185}" type="datetime1">
              <a:rPr lang="en-US"/>
              <a:pPr>
                <a:defRPr/>
              </a:pPr>
              <a:t>7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8B701E-CF79-45F6-91D2-2F034F6A93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5800" y="5883275"/>
            <a:ext cx="5003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100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1pPr>
          </a:lstStyle>
          <a:p>
            <a:pPr>
              <a:defRPr/>
            </a:pPr>
            <a:r>
              <a:rPr lang="en-US"/>
              <a:t>GOGO BAND Proprietary and Confidential – March 2017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B27B6-1CBE-4E25-A5EB-741AC1ECCD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85113" y="5883275"/>
            <a:ext cx="5730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hangingPunct="1">
              <a:defRPr sz="1000" smtClean="0">
                <a:solidFill>
                  <a:schemeClr val="tx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defRPr>
            </a:lvl1pPr>
          </a:lstStyle>
          <a:p>
            <a:pPr>
              <a:defRPr/>
            </a:pPr>
            <a:fld id="{ED6D4E3A-23FF-42B6-A0D1-2E228CF7D60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  <p:sldLayoutId id="2147483782" r:id="rId17"/>
  </p:sldLayoutIdLst>
  <p:hf hdr="0" dt="0"/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3600" kern="1200" cap="all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w Cen MT" panose="020B0602020104020603" pitchFamily="34" charset="0"/>
        </a:defRPr>
      </a:lvl2pPr>
      <a:lvl3pPr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w Cen MT" panose="020B0602020104020603" pitchFamily="34" charset="0"/>
        </a:defRPr>
      </a:lvl3pPr>
      <a:lvl4pPr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w Cen MT" panose="020B0602020104020603" pitchFamily="34" charset="0"/>
        </a:defRPr>
      </a:lvl4pPr>
      <a:lvl5pPr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w Cen MT" panose="020B0602020104020603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w Cen MT" panose="020B0602020104020603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w Cen MT" panose="020B0602020104020603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w Cen MT" panose="020B0602020104020603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Tw Cen MT" panose="020B0602020104020603" pitchFamily="34" charset="0"/>
        </a:defRPr>
      </a:lvl9pPr>
    </p:titleStyle>
    <p:bodyStyle>
      <a:lvl1pPr marL="228600" indent="-228600" algn="l" rtl="0" fontAlgn="base">
        <a:lnSpc>
          <a:spcPct val="120000"/>
        </a:lnSpc>
        <a:spcBef>
          <a:spcPts val="1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2000" kern="1200" cap="all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120000"/>
        </a:lnSpc>
        <a:spcBef>
          <a:spcPts val="5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kern="1200" cap="all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120000"/>
        </a:lnSpc>
        <a:spcBef>
          <a:spcPts val="5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600" kern="1200" cap="all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120000"/>
        </a:lnSpc>
        <a:spcBef>
          <a:spcPts val="5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400" kern="1200" cap="all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120000"/>
        </a:lnSpc>
        <a:spcBef>
          <a:spcPts val="5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sz="1400" kern="1200" cap="all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7.png"/><Relationship Id="rId7" Type="http://schemas.openxmlformats.org/officeDocument/2006/relationships/image" Target="../media/image5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10" Type="http://schemas.openxmlformats.org/officeDocument/2006/relationships/image" Target="../media/image55.jpeg"/><Relationship Id="rId4" Type="http://schemas.openxmlformats.org/officeDocument/2006/relationships/image" Target="../media/image49.png"/><Relationship Id="rId9" Type="http://schemas.openxmlformats.org/officeDocument/2006/relationships/image" Target="../media/image5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5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8.png"/><Relationship Id="rId5" Type="http://schemas.openxmlformats.org/officeDocument/2006/relationships/image" Target="../media/image57.jpeg"/><Relationship Id="rId4" Type="http://schemas.openxmlformats.org/officeDocument/2006/relationships/image" Target="../media/image5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2.jp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.jpeg"/><Relationship Id="rId18" Type="http://schemas.openxmlformats.org/officeDocument/2006/relationships/image" Target="../media/image29.png"/><Relationship Id="rId26" Type="http://schemas.openxmlformats.org/officeDocument/2006/relationships/image" Target="../media/image37.jpeg"/><Relationship Id="rId3" Type="http://schemas.openxmlformats.org/officeDocument/2006/relationships/image" Target="../media/image14.jpeg"/><Relationship Id="rId21" Type="http://schemas.openxmlformats.org/officeDocument/2006/relationships/image" Target="../media/image32.jpeg"/><Relationship Id="rId7" Type="http://schemas.openxmlformats.org/officeDocument/2006/relationships/image" Target="../media/image18.jpe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5" Type="http://schemas.openxmlformats.org/officeDocument/2006/relationships/image" Target="../media/image36.png"/><Relationship Id="rId3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7.jpeg"/><Relationship Id="rId20" Type="http://schemas.openxmlformats.org/officeDocument/2006/relationships/image" Target="../media/image31.png"/><Relationship Id="rId29" Type="http://schemas.openxmlformats.org/officeDocument/2006/relationships/image" Target="../media/image40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11" Type="http://schemas.openxmlformats.org/officeDocument/2006/relationships/image" Target="../media/image22.jpeg"/><Relationship Id="rId24" Type="http://schemas.openxmlformats.org/officeDocument/2006/relationships/image" Target="../media/image35.jpeg"/><Relationship Id="rId32" Type="http://schemas.openxmlformats.org/officeDocument/2006/relationships/image" Target="../media/image43.png"/><Relationship Id="rId5" Type="http://schemas.openxmlformats.org/officeDocument/2006/relationships/image" Target="../media/image16.png"/><Relationship Id="rId15" Type="http://schemas.openxmlformats.org/officeDocument/2006/relationships/image" Target="../media/image26.jpeg"/><Relationship Id="rId23" Type="http://schemas.openxmlformats.org/officeDocument/2006/relationships/image" Target="../media/image34.jpeg"/><Relationship Id="rId28" Type="http://schemas.openxmlformats.org/officeDocument/2006/relationships/image" Target="../media/image39.jpeg"/><Relationship Id="rId10" Type="http://schemas.openxmlformats.org/officeDocument/2006/relationships/image" Target="../media/image21.jpeg"/><Relationship Id="rId19" Type="http://schemas.openxmlformats.org/officeDocument/2006/relationships/image" Target="../media/image30.jpeg"/><Relationship Id="rId31" Type="http://schemas.openxmlformats.org/officeDocument/2006/relationships/image" Target="../media/image42.png"/><Relationship Id="rId4" Type="http://schemas.openxmlformats.org/officeDocument/2006/relationships/image" Target="../media/image15.png"/><Relationship Id="rId9" Type="http://schemas.openxmlformats.org/officeDocument/2006/relationships/image" Target="../media/image20.jpeg"/><Relationship Id="rId14" Type="http://schemas.openxmlformats.org/officeDocument/2006/relationships/image" Target="../media/image25.jpeg"/><Relationship Id="rId22" Type="http://schemas.openxmlformats.org/officeDocument/2006/relationships/image" Target="../media/image33.jpeg"/><Relationship Id="rId27" Type="http://schemas.openxmlformats.org/officeDocument/2006/relationships/image" Target="../media/image38.jpeg"/><Relationship Id="rId30" Type="http://schemas.openxmlformats.org/officeDocument/2006/relationships/image" Target="../media/image41.jpeg"/><Relationship Id="rId8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7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notesSlide" Target="../notesSlides/notesSlide7.xml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image" Target="../media/image44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D96507-AA1C-47E8-9986-AE2805705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 dirty="0">
                <a:latin typeface="+mn-lt"/>
              </a:rPr>
              <a:t>GOGO BAND Proprietary and Confidential – March 2017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80A938-E1C4-4EDE-9FE6-BA8CD92C9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6F0B9D9A-0575-4A94-8E15-5781EF4A250D}" type="slidenum">
              <a:rPr lang="en-US" sz="950" b="1"/>
              <a:pPr>
                <a:defRPr/>
              </a:pPr>
              <a:t>1</a:t>
            </a:fld>
            <a:endParaRPr lang="en-US" sz="95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015C6E6-067C-4BA2-A7C6-8BD9582106F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42988" y="1978025"/>
            <a:ext cx="7021512" cy="13366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grpSp>
        <p:nvGrpSpPr>
          <p:cNvPr id="21509" name="Group 7">
            <a:extLst>
              <a:ext uri="{FF2B5EF4-FFF2-40B4-BE49-F238E27FC236}">
                <a16:creationId xmlns:a16="http://schemas.microsoft.com/office/drawing/2014/main" id="{8CD37826-249F-4F3E-B6A6-366C4AFCDF70}"/>
              </a:ext>
            </a:extLst>
          </p:cNvPr>
          <p:cNvGrpSpPr>
            <a:grpSpLocks/>
          </p:cNvGrpSpPr>
          <p:nvPr/>
        </p:nvGrpSpPr>
        <p:grpSpPr bwMode="auto">
          <a:xfrm>
            <a:off x="0" y="6119813"/>
            <a:ext cx="9267825" cy="496887"/>
            <a:chOff x="0" y="5353855"/>
            <a:chExt cx="9267825" cy="49660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09B17C7-FC5D-4F19-A9AC-00EF7C5537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5535851"/>
              <a:ext cx="1684746" cy="166656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393FBA5-3129-4923-88FC-D4EBF420E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983502" y="5530823"/>
              <a:ext cx="1684746" cy="166656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2205C97D-C60C-46B5-A9AA-952F5497089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472693" y="5496809"/>
              <a:ext cx="1728438" cy="226984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C03F92D-7345-42F5-AC9E-C0F51765EEF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539388" y="5515524"/>
              <a:ext cx="1728437" cy="165722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3143F11-AC61-4BA2-8C3B-9C612AB2E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027887" y="5353855"/>
              <a:ext cx="1684746" cy="496604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63239FC-39B1-47C1-83F0-C9396BD17D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511502" y="5500659"/>
              <a:ext cx="1728438" cy="226984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</p:grpSp>
      <p:sp>
        <p:nvSpPr>
          <p:cNvPr id="21510" name="TextBox 4">
            <a:extLst>
              <a:ext uri="{FF2B5EF4-FFF2-40B4-BE49-F238E27FC236}">
                <a16:creationId xmlns:a16="http://schemas.microsoft.com/office/drawing/2014/main" id="{672F3C45-6945-463D-94B6-9AEC501B5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09875" y="3967163"/>
            <a:ext cx="3217863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2000" b="1"/>
              <a:t>Investor Presentation</a:t>
            </a:r>
          </a:p>
          <a:p>
            <a:pPr algn="ctr" eaLnBrk="1" hangingPunct="1"/>
            <a:r>
              <a:rPr lang="en-US" altLang="en-US"/>
              <a:t>March 2017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Footer Placeholder 3">
            <a:extLst>
              <a:ext uri="{FF2B5EF4-FFF2-40B4-BE49-F238E27FC236}">
                <a16:creationId xmlns:a16="http://schemas.microsoft.com/office/drawing/2014/main" id="{96480EF2-F945-4EA1-B1B5-31C685926C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0" y="6489700"/>
            <a:ext cx="5005388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9CB85-6C33-40BB-ACEC-0E404C2E0E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Wearables Market Segmentation</a:t>
            </a:r>
          </a:p>
        </p:txBody>
      </p:sp>
      <p:pic>
        <p:nvPicPr>
          <p:cNvPr id="39940" name="Picture 8">
            <a:extLst>
              <a:ext uri="{FF2B5EF4-FFF2-40B4-BE49-F238E27FC236}">
                <a16:creationId xmlns:a16="http://schemas.microsoft.com/office/drawing/2014/main" id="{E9297D51-CB3D-4C2A-BAF9-40EA2F7ED9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10F5DE-4806-455C-B7E5-1CABF8E731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37272122-92D4-4B81-91A2-F3480D01D833}" type="slidenum">
              <a:rPr lang="en-US" sz="950" b="1"/>
              <a:pPr>
                <a:defRPr/>
              </a:pPr>
              <a:t>10</a:t>
            </a:fld>
            <a:endParaRPr lang="en-US" sz="95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B7104B-334F-45BE-8C76-0708B205552C}"/>
              </a:ext>
            </a:extLst>
          </p:cNvPr>
          <p:cNvSpPr txBox="1"/>
          <p:nvPr/>
        </p:nvSpPr>
        <p:spPr>
          <a:xfrm>
            <a:off x="985838" y="4311650"/>
            <a:ext cx="1189037" cy="1076325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anchor="ctr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Core Focus</a:t>
            </a:r>
          </a:p>
          <a:p>
            <a:pPr algn="ctr" eaLnBrk="1" hangingPunct="1">
              <a:defRPr/>
            </a:pPr>
            <a:r>
              <a:rPr lang="en-US" sz="1600" dirty="0">
                <a:solidFill>
                  <a:schemeClr val="bg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Infant Monitoring</a:t>
            </a:r>
          </a:p>
        </p:txBody>
      </p:sp>
      <p:sp>
        <p:nvSpPr>
          <p:cNvPr id="39943" name="Rectangle 54">
            <a:extLst>
              <a:ext uri="{FF2B5EF4-FFF2-40B4-BE49-F238E27FC236}">
                <a16:creationId xmlns:a16="http://schemas.microsoft.com/office/drawing/2014/main" id="{BF15FB59-87CD-4F34-BB7D-123B54773C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1225" y="1924050"/>
            <a:ext cx="1841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9944" name="TextBox 12">
            <a:extLst>
              <a:ext uri="{FF2B5EF4-FFF2-40B4-BE49-F238E27FC236}">
                <a16:creationId xmlns:a16="http://schemas.microsoft.com/office/drawing/2014/main" id="{BC0DBF5E-EA84-4617-B7AC-4824C59E97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6725" y="1946275"/>
            <a:ext cx="2195513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600" b="1"/>
              <a:t>Infant Biometrics</a:t>
            </a:r>
          </a:p>
          <a:p>
            <a:pPr algn="ctr" eaLnBrk="1" hangingPunct="1"/>
            <a:r>
              <a:rPr lang="en-US" altLang="en-US" sz="1100" b="1"/>
              <a:t>(Ages 0 – 2)</a:t>
            </a:r>
          </a:p>
        </p:txBody>
      </p:sp>
      <p:sp>
        <p:nvSpPr>
          <p:cNvPr id="39945" name="TextBox 7">
            <a:extLst>
              <a:ext uri="{FF2B5EF4-FFF2-40B4-BE49-F238E27FC236}">
                <a16:creationId xmlns:a16="http://schemas.microsoft.com/office/drawing/2014/main" id="{2B4CD37B-EC5C-431D-A024-F9A4FDCBA5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2975" y="2589213"/>
            <a:ext cx="1273175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36525" indent="-136525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>
                <a:latin typeface="Tw Cen MT" panose="020B0602020104020603" pitchFamily="34" charset="0"/>
              </a:rPr>
              <a:t>Sproutling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>
                <a:latin typeface="Tw Cen MT" panose="020B0602020104020603" pitchFamily="34" charset="0"/>
              </a:rPr>
              <a:t>Mimo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>
                <a:latin typeface="Tw Cen MT" panose="020B0602020104020603" pitchFamily="34" charset="0"/>
              </a:rPr>
              <a:t>Misfit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F3BDF9C-1EEF-403F-9A7D-10A7773C5B11}"/>
              </a:ext>
            </a:extLst>
          </p:cNvPr>
          <p:cNvCxnSpPr>
            <a:cxnSpLocks/>
          </p:cNvCxnSpPr>
          <p:nvPr/>
        </p:nvCxnSpPr>
        <p:spPr>
          <a:xfrm>
            <a:off x="695325" y="2487613"/>
            <a:ext cx="1808163" cy="0"/>
          </a:xfrm>
          <a:prstGeom prst="straightConnector1">
            <a:avLst/>
          </a:prstGeom>
          <a:ln w="2857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947" name="Group 15">
            <a:extLst>
              <a:ext uri="{FF2B5EF4-FFF2-40B4-BE49-F238E27FC236}">
                <a16:creationId xmlns:a16="http://schemas.microsoft.com/office/drawing/2014/main" id="{0CFD660F-1E7A-4910-A358-BD28CDADC74A}"/>
              </a:ext>
            </a:extLst>
          </p:cNvPr>
          <p:cNvGrpSpPr>
            <a:grpSpLocks/>
          </p:cNvGrpSpPr>
          <p:nvPr/>
        </p:nvGrpSpPr>
        <p:grpSpPr bwMode="auto">
          <a:xfrm>
            <a:off x="6494463" y="1946275"/>
            <a:ext cx="1974850" cy="2000250"/>
            <a:chOff x="6214782" y="1737157"/>
            <a:chExt cx="2634674" cy="2668055"/>
          </a:xfrm>
        </p:grpSpPr>
        <p:sp>
          <p:nvSpPr>
            <p:cNvPr id="39956" name="TextBox 7">
              <a:extLst>
                <a:ext uri="{FF2B5EF4-FFF2-40B4-BE49-F238E27FC236}">
                  <a16:creationId xmlns:a16="http://schemas.microsoft.com/office/drawing/2014/main" id="{078FD3BE-1702-4631-B779-4691E9E80C5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88438" y="2435442"/>
              <a:ext cx="2176289" cy="19697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36525" indent="-13652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Font typeface="Arial" panose="020B0604020202020204" pitchFamily="34" charset="0"/>
                <a:buChar char="•"/>
              </a:pPr>
              <a:r>
                <a:rPr lang="en-US" altLang="en-US">
                  <a:latin typeface="Tw Cen MT" panose="020B0602020104020603" pitchFamily="34" charset="0"/>
                </a:rPr>
                <a:t>Fitbit</a:t>
              </a:r>
            </a:p>
            <a:p>
              <a:pPr eaLnBrk="1" hangingPunct="1">
                <a:buFont typeface="Arial" panose="020B0604020202020204" pitchFamily="34" charset="0"/>
                <a:buChar char="•"/>
              </a:pPr>
              <a:r>
                <a:rPr lang="en-US" altLang="en-US">
                  <a:latin typeface="Tw Cen MT" panose="020B0602020104020603" pitchFamily="34" charset="0"/>
                </a:rPr>
                <a:t>Jawbone</a:t>
              </a:r>
            </a:p>
            <a:p>
              <a:pPr eaLnBrk="1" hangingPunct="1">
                <a:buFont typeface="Arial" panose="020B0604020202020204" pitchFamily="34" charset="0"/>
                <a:buChar char="•"/>
              </a:pPr>
              <a:r>
                <a:rPr lang="en-US" altLang="en-US">
                  <a:latin typeface="Tw Cen MT" panose="020B0602020104020603" pitchFamily="34" charset="0"/>
                </a:rPr>
                <a:t>Apple</a:t>
              </a:r>
            </a:p>
            <a:p>
              <a:pPr eaLnBrk="1" hangingPunct="1">
                <a:buFont typeface="Arial" panose="020B0604020202020204" pitchFamily="34" charset="0"/>
                <a:buChar char="•"/>
              </a:pPr>
              <a:r>
                <a:rPr lang="en-US" altLang="en-US">
                  <a:latin typeface="Tw Cen MT" panose="020B0602020104020603" pitchFamily="34" charset="0"/>
                </a:rPr>
                <a:t>Fossil</a:t>
              </a:r>
            </a:p>
            <a:p>
              <a:pPr eaLnBrk="1" hangingPunct="1">
                <a:buFont typeface="Arial" panose="020B0604020202020204" pitchFamily="34" charset="0"/>
                <a:buChar char="•"/>
              </a:pPr>
              <a:r>
                <a:rPr lang="en-US" altLang="en-US">
                  <a:latin typeface="Tw Cen MT" panose="020B0602020104020603" pitchFamily="34" charset="0"/>
                </a:rPr>
                <a:t>Under Armour</a:t>
              </a:r>
            </a:p>
          </p:txBody>
        </p:sp>
        <p:sp>
          <p:nvSpPr>
            <p:cNvPr id="39957" name="TextBox 17">
              <a:extLst>
                <a:ext uri="{FF2B5EF4-FFF2-40B4-BE49-F238E27FC236}">
                  <a16:creationId xmlns:a16="http://schemas.microsoft.com/office/drawing/2014/main" id="{FB64B739-0F58-4249-966E-BE1AE95E7D9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14782" y="1737157"/>
              <a:ext cx="2634674" cy="677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600" b="1"/>
                <a:t>Adult Biometrics </a:t>
              </a:r>
              <a:r>
                <a:rPr lang="en-US" altLang="en-US" sz="1100" b="1"/>
                <a:t>(Ages 19+)</a:t>
              </a:r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12DCAB02-37B6-46E9-B051-79D2568E5426}"/>
                </a:ext>
              </a:extLst>
            </p:cNvPr>
            <p:cNvCxnSpPr>
              <a:cxnSpLocks/>
            </p:cNvCxnSpPr>
            <p:nvPr/>
          </p:nvCxnSpPr>
          <p:spPr>
            <a:xfrm>
              <a:off x="6214782" y="2435933"/>
              <a:ext cx="2450416" cy="0"/>
            </a:xfrm>
            <a:prstGeom prst="straightConnector1">
              <a:avLst/>
            </a:prstGeom>
            <a:ln w="28575">
              <a:solidFill>
                <a:schemeClr val="accent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948" name="TextBox 19">
            <a:extLst>
              <a:ext uri="{FF2B5EF4-FFF2-40B4-BE49-F238E27FC236}">
                <a16:creationId xmlns:a16="http://schemas.microsoft.com/office/drawing/2014/main" id="{FF55BBE2-73D5-4D0A-85F2-9ACCCB5598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2150" y="1920875"/>
            <a:ext cx="2662238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600" b="1"/>
              <a:t>Children Biometrics</a:t>
            </a:r>
          </a:p>
          <a:p>
            <a:pPr algn="ctr" eaLnBrk="1" hangingPunct="1"/>
            <a:r>
              <a:rPr lang="en-US" altLang="en-US" sz="1100" b="1"/>
              <a:t>(Ages 2 – 18)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C3962256-AB07-42BE-BAF3-31FD36C34F29}"/>
              </a:ext>
            </a:extLst>
          </p:cNvPr>
          <p:cNvCxnSpPr>
            <a:cxnSpLocks/>
          </p:cNvCxnSpPr>
          <p:nvPr/>
        </p:nvCxnSpPr>
        <p:spPr>
          <a:xfrm>
            <a:off x="3232150" y="2487613"/>
            <a:ext cx="2662238" cy="0"/>
          </a:xfrm>
          <a:prstGeom prst="straightConnector1">
            <a:avLst/>
          </a:prstGeom>
          <a:ln w="28575">
            <a:solidFill>
              <a:schemeClr val="accent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950" name="Picture 21">
            <a:extLst>
              <a:ext uri="{FF2B5EF4-FFF2-40B4-BE49-F238E27FC236}">
                <a16:creationId xmlns:a16="http://schemas.microsoft.com/office/drawing/2014/main" id="{4C68B452-8998-4EDD-8D06-E2FD09E3AF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7363" y="2825750"/>
            <a:ext cx="3086100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C1728B1-071F-46F3-A484-8BD73E2A9121}"/>
              </a:ext>
            </a:extLst>
          </p:cNvPr>
          <p:cNvSpPr txBox="1"/>
          <p:nvPr/>
        </p:nvSpPr>
        <p:spPr>
          <a:xfrm>
            <a:off x="6919913" y="4311650"/>
            <a:ext cx="1123950" cy="1076325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anchor="ctr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Core Focus</a:t>
            </a:r>
          </a:p>
          <a:p>
            <a:pPr algn="ctr" eaLnBrk="1" hangingPunct="1">
              <a:defRPr/>
            </a:pPr>
            <a:r>
              <a:rPr lang="en-US" sz="1600" dirty="0">
                <a:solidFill>
                  <a:schemeClr val="bg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Fitness</a:t>
            </a:r>
          </a:p>
          <a:p>
            <a:pPr algn="ctr" eaLnBrk="1" hangingPunct="1">
              <a:defRPr/>
            </a:pPr>
            <a:r>
              <a:rPr lang="en-US" sz="1600" dirty="0">
                <a:solidFill>
                  <a:schemeClr val="bg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Track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5574429-534B-4719-B2AF-526FFF7A8494}"/>
              </a:ext>
            </a:extLst>
          </p:cNvPr>
          <p:cNvSpPr txBox="1"/>
          <p:nvPr/>
        </p:nvSpPr>
        <p:spPr>
          <a:xfrm>
            <a:off x="3636409" y="3680209"/>
            <a:ext cx="1942295" cy="1708160"/>
          </a:xfrm>
          <a:prstGeom prst="rect">
            <a:avLst/>
          </a:prstGeom>
          <a:solidFill>
            <a:srgbClr val="1505B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>
            <a:spAutoFit/>
          </a:bodyPr>
          <a:lstStyle/>
          <a:p>
            <a:pPr algn="ctr" eaLnBrk="1" hangingPunct="1">
              <a:defRPr/>
            </a:pPr>
            <a:endParaRPr lang="en-US" sz="1500" b="1" dirty="0">
              <a:solidFill>
                <a:schemeClr val="bg1"/>
              </a:solidFill>
              <a:latin typeface="+mn-lt"/>
              <a:ea typeface="ＭＳ Ｐゴシック" pitchFamily="-72" charset="-128"/>
              <a:cs typeface="ＭＳ Ｐゴシック" pitchFamily="-72" charset="-128"/>
            </a:endParaRPr>
          </a:p>
          <a:p>
            <a:pPr algn="ctr" eaLnBrk="1" hangingPunct="1">
              <a:defRPr/>
            </a:pPr>
            <a:r>
              <a:rPr lang="en-US" sz="2400" b="1" dirty="0">
                <a:solidFill>
                  <a:schemeClr val="bg1"/>
                </a:solidFill>
                <a:latin typeface="+mn-lt"/>
                <a:ea typeface="ＭＳ Ｐゴシック" pitchFamily="-72" charset="-128"/>
                <a:cs typeface="ＭＳ Ｐゴシック" pitchFamily="-72" charset="-128"/>
              </a:rPr>
              <a:t>Core Focus</a:t>
            </a:r>
          </a:p>
          <a:p>
            <a:pPr algn="ctr" eaLnBrk="1" hangingPunct="1">
              <a:defRPr/>
            </a:pPr>
            <a:r>
              <a:rPr lang="en-US" sz="2400" b="1" dirty="0">
                <a:solidFill>
                  <a:schemeClr val="bg1"/>
                </a:solidFill>
                <a:latin typeface="+mn-lt"/>
                <a:ea typeface="ＭＳ Ｐゴシック" pitchFamily="-72" charset="-128"/>
                <a:cs typeface="ＭＳ Ｐゴシック" pitchFamily="-72" charset="-128"/>
              </a:rPr>
              <a:t>Pediatric </a:t>
            </a:r>
          </a:p>
          <a:p>
            <a:pPr algn="ctr" eaLnBrk="1" hangingPunct="1">
              <a:defRPr/>
            </a:pPr>
            <a:r>
              <a:rPr lang="en-US" sz="2400" b="1" dirty="0">
                <a:solidFill>
                  <a:schemeClr val="bg1"/>
                </a:solidFill>
                <a:latin typeface="+mn-lt"/>
                <a:ea typeface="ＭＳ Ｐゴシック" pitchFamily="-72" charset="-128"/>
                <a:cs typeface="ＭＳ Ｐゴシック" pitchFamily="-72" charset="-128"/>
              </a:rPr>
              <a:t>Enuresis</a:t>
            </a:r>
          </a:p>
          <a:p>
            <a:pPr algn="ctr" eaLnBrk="1" hangingPunct="1">
              <a:defRPr/>
            </a:pPr>
            <a:endParaRPr lang="en-US" dirty="0">
              <a:solidFill>
                <a:schemeClr val="bg1"/>
              </a:solidFill>
              <a:latin typeface="+mn-lt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C88196-F3B0-44D9-83A7-1429AA4E3CED}"/>
              </a:ext>
            </a:extLst>
          </p:cNvPr>
          <p:cNvSpPr/>
          <p:nvPr/>
        </p:nvSpPr>
        <p:spPr>
          <a:xfrm>
            <a:off x="2886075" y="1700213"/>
            <a:ext cx="3403600" cy="4192587"/>
          </a:xfrm>
          <a:prstGeom prst="rect">
            <a:avLst/>
          </a:prstGeom>
          <a:noFill/>
          <a:ln w="28575">
            <a:solidFill>
              <a:srgbClr val="1505B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rtial Circle 6">
            <a:extLst>
              <a:ext uri="{FF2B5EF4-FFF2-40B4-BE49-F238E27FC236}">
                <a16:creationId xmlns:a16="http://schemas.microsoft.com/office/drawing/2014/main" id="{88741F54-91BD-4F2C-A39C-C563804F37EF}"/>
              </a:ext>
            </a:extLst>
          </p:cNvPr>
          <p:cNvSpPr/>
          <p:nvPr/>
        </p:nvSpPr>
        <p:spPr>
          <a:xfrm rot="19957519">
            <a:off x="896938" y="2362200"/>
            <a:ext cx="2420937" cy="2727325"/>
          </a:xfrm>
          <a:prstGeom prst="pie">
            <a:avLst>
              <a:gd name="adj1" fmla="val 241609"/>
              <a:gd name="adj2" fmla="val 3493629"/>
            </a:avLst>
          </a:prstGeom>
          <a:solidFill>
            <a:srgbClr val="3BF1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Partial Circle 5">
            <a:extLst>
              <a:ext uri="{FF2B5EF4-FFF2-40B4-BE49-F238E27FC236}">
                <a16:creationId xmlns:a16="http://schemas.microsoft.com/office/drawing/2014/main" id="{AE160406-6BF1-4DB1-AABB-B440D6D7ED0F}"/>
              </a:ext>
            </a:extLst>
          </p:cNvPr>
          <p:cNvSpPr/>
          <p:nvPr/>
        </p:nvSpPr>
        <p:spPr>
          <a:xfrm rot="1710247">
            <a:off x="395288" y="2308225"/>
            <a:ext cx="3011487" cy="2825750"/>
          </a:xfrm>
          <a:prstGeom prst="pie">
            <a:avLst>
              <a:gd name="adj1" fmla="val 93472"/>
              <a:gd name="adj2" fmla="val 18481611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41988" name="Chart 8">
            <a:extLst>
              <a:ext uri="{FF2B5EF4-FFF2-40B4-BE49-F238E27FC236}">
                <a16:creationId xmlns:a16="http://schemas.microsoft.com/office/drawing/2014/main" id="{DDBBC0A8-B6DA-4BF5-918C-5C196627F3D4}"/>
              </a:ext>
            </a:extLst>
          </p:cNvPr>
          <p:cNvGraphicFramePr>
            <a:graphicFrameLocks/>
          </p:cNvGraphicFramePr>
          <p:nvPr/>
        </p:nvGraphicFramePr>
        <p:xfrm>
          <a:off x="2811463" y="823913"/>
          <a:ext cx="8428037" cy="5037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3" imgW="8431499" imgH="5041829" progId="Excel.Chart.8">
                  <p:embed/>
                </p:oleObj>
              </mc:Choice>
              <mc:Fallback>
                <p:oleObj name="Chart" r:id="rId3" imgW="8431499" imgH="5041829" progId="Excel.Chart.8">
                  <p:embed/>
                  <p:pic>
                    <p:nvPicPr>
                      <p:cNvPr id="0" name="Chart 8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11463" y="823913"/>
                        <a:ext cx="8428037" cy="50371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A099ACC-C6D5-4EAD-BDFB-B9463FEDA50B}"/>
              </a:ext>
            </a:extLst>
          </p:cNvPr>
          <p:cNvCxnSpPr/>
          <p:nvPr/>
        </p:nvCxnSpPr>
        <p:spPr bwMode="auto">
          <a:xfrm flipV="1">
            <a:off x="3409950" y="2206625"/>
            <a:ext cx="2312988" cy="1027113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466ED1A-8EDD-403B-BF22-CB871E357FA5}"/>
              </a:ext>
            </a:extLst>
          </p:cNvPr>
          <p:cNvCxnSpPr/>
          <p:nvPr/>
        </p:nvCxnSpPr>
        <p:spPr bwMode="auto">
          <a:xfrm>
            <a:off x="3387725" y="4456113"/>
            <a:ext cx="2254250" cy="1074737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91" name="TextBox 26">
            <a:extLst>
              <a:ext uri="{FF2B5EF4-FFF2-40B4-BE49-F238E27FC236}">
                <a16:creationId xmlns:a16="http://schemas.microsoft.com/office/drawing/2014/main" id="{A5838BAB-1B20-4B9E-87E4-FDB1ACE0CB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313" y="3460750"/>
            <a:ext cx="11271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>
                <a:latin typeface="Tw Cen MT" panose="020B0602020104020603" pitchFamily="34" charset="0"/>
              </a:rPr>
              <a:t>Total Market</a:t>
            </a:r>
          </a:p>
          <a:p>
            <a:pPr algn="ctr" eaLnBrk="1" hangingPunct="1"/>
            <a:r>
              <a:rPr lang="en-US" altLang="en-US" sz="1400" b="1">
                <a:latin typeface="Tw Cen MT" panose="020B0602020104020603" pitchFamily="34" charset="0"/>
              </a:rPr>
              <a:t>51,000,000</a:t>
            </a:r>
          </a:p>
        </p:txBody>
      </p:sp>
      <p:sp>
        <p:nvSpPr>
          <p:cNvPr id="41992" name="TextBox 30">
            <a:extLst>
              <a:ext uri="{FF2B5EF4-FFF2-40B4-BE49-F238E27FC236}">
                <a16:creationId xmlns:a16="http://schemas.microsoft.com/office/drawing/2014/main" id="{05C8E2E2-3661-4E1D-BE26-B0B3A9142B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7600" y="3429000"/>
            <a:ext cx="110966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200" b="1">
                <a:latin typeface="Tw Cen MT" panose="020B0602020104020603" pitchFamily="34" charset="0"/>
              </a:rPr>
              <a:t>Enuretic Children</a:t>
            </a:r>
          </a:p>
          <a:p>
            <a:pPr algn="ctr" eaLnBrk="1" hangingPunct="1"/>
            <a:r>
              <a:rPr lang="en-US" altLang="en-US" sz="1200" b="1">
                <a:latin typeface="Tw Cen MT" panose="020B0602020104020603" pitchFamily="34" charset="0"/>
              </a:rPr>
              <a:t>8,500,000</a:t>
            </a:r>
          </a:p>
        </p:txBody>
      </p:sp>
      <p:sp>
        <p:nvSpPr>
          <p:cNvPr id="41993" name="TextBox 1">
            <a:extLst>
              <a:ext uri="{FF2B5EF4-FFF2-40B4-BE49-F238E27FC236}">
                <a16:creationId xmlns:a16="http://schemas.microsoft.com/office/drawing/2014/main" id="{861147CE-FFB0-4E98-82A5-93AC881B30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8538" y="1449388"/>
            <a:ext cx="1804987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b="1">
                <a:latin typeface="Tw Cen MT" panose="020B0602020104020603" pitchFamily="34" charset="0"/>
              </a:rPr>
              <a:t>USA Children Population</a:t>
            </a:r>
          </a:p>
          <a:p>
            <a:pPr algn="ctr" eaLnBrk="1" hangingPunct="1"/>
            <a:r>
              <a:rPr lang="en-US" altLang="en-US" sz="1200" b="1">
                <a:latin typeface="Tw Cen MT" panose="020B0602020104020603" pitchFamily="34" charset="0"/>
              </a:rPr>
              <a:t>(5 – 18 years old)</a:t>
            </a:r>
          </a:p>
        </p:txBody>
      </p:sp>
      <p:sp>
        <p:nvSpPr>
          <p:cNvPr id="41994" name="TextBox 16">
            <a:extLst>
              <a:ext uri="{FF2B5EF4-FFF2-40B4-BE49-F238E27FC236}">
                <a16:creationId xmlns:a16="http://schemas.microsoft.com/office/drawing/2014/main" id="{65E2DFBC-C0E6-4ADA-94A7-118D2881F2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27650" y="1400175"/>
            <a:ext cx="3127375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b="1">
                <a:latin typeface="Tw Cen MT" panose="020B0602020104020603" pitchFamily="34" charset="0"/>
              </a:rPr>
              <a:t>Enuretic Children Population</a:t>
            </a:r>
            <a:r>
              <a:rPr lang="en-US" altLang="en-US" sz="1200" b="1" baseline="30000">
                <a:latin typeface="Tw Cen MT" panose="020B0602020104020603" pitchFamily="34" charset="0"/>
              </a:rPr>
              <a:t>1</a:t>
            </a:r>
            <a:endParaRPr lang="en-US" altLang="en-US" b="1">
              <a:latin typeface="Tw Cen MT" panose="020B0602020104020603" pitchFamily="34" charset="0"/>
            </a:endParaRPr>
          </a:p>
          <a:p>
            <a:pPr algn="ctr" eaLnBrk="1" hangingPunct="1"/>
            <a:r>
              <a:rPr lang="en-US" altLang="en-US" sz="1200" b="1">
                <a:latin typeface="Tw Cen MT" panose="020B0602020104020603" pitchFamily="34" charset="0"/>
              </a:rPr>
              <a:t>(5 – 18 years old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5C45B1-7A36-4CE7-8F8F-9F1AEB568580}"/>
              </a:ext>
            </a:extLst>
          </p:cNvPr>
          <p:cNvSpPr txBox="1"/>
          <p:nvPr/>
        </p:nvSpPr>
        <p:spPr>
          <a:xfrm>
            <a:off x="307975" y="5575300"/>
            <a:ext cx="5303838" cy="6461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8.5M children suffer from Pediatric Enuresis</a:t>
            </a:r>
          </a:p>
          <a:p>
            <a:pPr algn="ctr" eaLnBrk="1" hangingPunct="1">
              <a:defRPr/>
            </a:pPr>
            <a:r>
              <a:rPr lang="en-US" b="1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with 1,000,000 new cases diagnosed every year</a:t>
            </a:r>
          </a:p>
        </p:txBody>
      </p:sp>
      <p:sp>
        <p:nvSpPr>
          <p:cNvPr id="41996" name="TextBox 3">
            <a:extLst>
              <a:ext uri="{FF2B5EF4-FFF2-40B4-BE49-F238E27FC236}">
                <a16:creationId xmlns:a16="http://schemas.microsoft.com/office/drawing/2014/main" id="{6ADF5AC7-9830-472A-A7DA-A831479BF6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7075" y="6529388"/>
            <a:ext cx="3900488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800" b="1" u="sng" baseline="30000">
                <a:latin typeface="Tw Cen MT" panose="020B0602020104020603" pitchFamily="34" charset="0"/>
              </a:rPr>
              <a:t>1</a:t>
            </a:r>
            <a:r>
              <a:rPr lang="en-US" altLang="en-US" sz="800" b="1" u="sng">
                <a:latin typeface="Tw Cen MT" panose="020B0602020104020603" pitchFamily="34" charset="0"/>
              </a:rPr>
              <a:t>Evaluation and Treatment of Enuresis</a:t>
            </a:r>
            <a:r>
              <a:rPr lang="en-US" altLang="en-US" sz="800" b="1">
                <a:latin typeface="Tw Cen MT" panose="020B0602020104020603" pitchFamily="34" charset="0"/>
              </a:rPr>
              <a:t>, K. Ramakrish, MD AFP V78.4 August 15, 2008</a:t>
            </a:r>
          </a:p>
          <a:p>
            <a:pPr eaLnBrk="1" hangingPunct="1"/>
            <a:endParaRPr lang="en-US" altLang="en-US" sz="8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2AEC64-B978-44C7-8D72-6DB60376C45C}"/>
              </a:ext>
            </a:extLst>
          </p:cNvPr>
          <p:cNvSpPr txBox="1"/>
          <p:nvPr/>
        </p:nvSpPr>
        <p:spPr>
          <a:xfrm>
            <a:off x="5435600" y="3482975"/>
            <a:ext cx="1236663" cy="11382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14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 pitchFamily="-72" charset="-128"/>
                <a:cs typeface="ＭＳ Ｐゴシック" pitchFamily="-72" charset="-128"/>
              </a:rPr>
              <a:t>Nighttime</a:t>
            </a:r>
          </a:p>
          <a:p>
            <a:pPr algn="ctr" eaLnBrk="1" hangingPunct="1">
              <a:defRPr/>
            </a:pPr>
            <a:r>
              <a:rPr lang="en-US" sz="14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 pitchFamily="-72" charset="-128"/>
                <a:cs typeface="ＭＳ Ｐゴシック" pitchFamily="-72" charset="-128"/>
              </a:rPr>
              <a:t>4,500,000</a:t>
            </a:r>
          </a:p>
          <a:p>
            <a:pPr algn="ctr" eaLnBrk="1" hangingPunct="1">
              <a:defRPr/>
            </a:pPr>
            <a:endParaRPr lang="en-US" sz="1400" b="1" dirty="0">
              <a:solidFill>
                <a:schemeClr val="bg1"/>
              </a:solidFill>
              <a:latin typeface="Tw Cen MT" panose="020B0602020104020603" pitchFamily="34" charset="0"/>
              <a:ea typeface="ＭＳ Ｐゴシック" pitchFamily="-72" charset="-128"/>
              <a:cs typeface="ＭＳ Ｐゴシック" pitchFamily="-72" charset="-128"/>
            </a:endParaRPr>
          </a:p>
          <a:p>
            <a:pPr algn="ctr" eaLnBrk="1" hangingPunct="1">
              <a:defRPr/>
            </a:pPr>
            <a:r>
              <a:rPr lang="en-US" sz="14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 pitchFamily="-72" charset="-128"/>
                <a:cs typeface="ＭＳ Ｐゴシック" pitchFamily="-72" charset="-128"/>
              </a:rPr>
              <a:t>Initial Launch</a:t>
            </a:r>
            <a:endParaRPr lang="en-US" sz="1200" b="1" dirty="0">
              <a:solidFill>
                <a:schemeClr val="bg1"/>
              </a:solidFill>
              <a:latin typeface="Tw Cen MT" panose="020B0602020104020603" pitchFamily="34" charset="0"/>
              <a:ea typeface="ＭＳ Ｐゴシック" pitchFamily="-72" charset="-128"/>
              <a:cs typeface="ＭＳ Ｐゴシック" pitchFamily="-72" charset="-128"/>
            </a:endParaRPr>
          </a:p>
          <a:p>
            <a:pPr algn="ctr" eaLnBrk="1" hangingPunct="1">
              <a:defRPr/>
            </a:pPr>
            <a:endParaRPr lang="en-US" sz="1200" b="1" dirty="0">
              <a:latin typeface="+mn-lt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C83E4F0-4E69-4979-A8DC-37C7846D2845}"/>
              </a:ext>
            </a:extLst>
          </p:cNvPr>
          <p:cNvSpPr txBox="1"/>
          <p:nvPr/>
        </p:nvSpPr>
        <p:spPr>
          <a:xfrm>
            <a:off x="7023100" y="4643438"/>
            <a:ext cx="1144588" cy="708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1400" b="1" dirty="0">
                <a:latin typeface="Tw Cen MT" panose="020B0602020104020603" pitchFamily="34" charset="0"/>
                <a:ea typeface="ＭＳ Ｐゴシック" pitchFamily="-72" charset="-128"/>
                <a:cs typeface="ＭＳ Ｐゴシック" pitchFamily="-72" charset="-128"/>
              </a:rPr>
              <a:t>Physical</a:t>
            </a:r>
          </a:p>
          <a:p>
            <a:pPr algn="ctr" eaLnBrk="1" hangingPunct="1">
              <a:defRPr/>
            </a:pPr>
            <a:r>
              <a:rPr lang="en-US" sz="1400" b="1" dirty="0">
                <a:latin typeface="Tw Cen MT" panose="020B0602020104020603" pitchFamily="34" charset="0"/>
                <a:ea typeface="ＭＳ Ｐゴシック" pitchFamily="-72" charset="-128"/>
                <a:cs typeface="ＭＳ Ｐゴシック" pitchFamily="-72" charset="-128"/>
              </a:rPr>
              <a:t>1,000,000</a:t>
            </a:r>
            <a:endParaRPr lang="en-US" sz="1200" b="1" dirty="0">
              <a:latin typeface="Tw Cen MT" panose="020B0602020104020603" pitchFamily="34" charset="0"/>
              <a:ea typeface="ＭＳ Ｐゴシック" pitchFamily="-72" charset="-128"/>
              <a:cs typeface="ＭＳ Ｐゴシック" pitchFamily="-72" charset="-128"/>
            </a:endParaRPr>
          </a:p>
          <a:p>
            <a:pPr algn="ctr" eaLnBrk="1" hangingPunct="1">
              <a:defRPr/>
            </a:pPr>
            <a:endParaRPr lang="en-US" sz="1200" b="1" dirty="0">
              <a:latin typeface="+mn-lt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19E7737-6FC9-49DC-B5EA-A7EB9E13677E}"/>
              </a:ext>
            </a:extLst>
          </p:cNvPr>
          <p:cNvSpPr txBox="1"/>
          <p:nvPr/>
        </p:nvSpPr>
        <p:spPr>
          <a:xfrm>
            <a:off x="6818313" y="2273300"/>
            <a:ext cx="1146175" cy="9239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14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 pitchFamily="-72" charset="-128"/>
                <a:cs typeface="ＭＳ Ｐゴシック" pitchFamily="-72" charset="-128"/>
              </a:rPr>
              <a:t>Nighttime </a:t>
            </a:r>
          </a:p>
          <a:p>
            <a:pPr algn="ctr" eaLnBrk="1" hangingPunct="1">
              <a:defRPr/>
            </a:pPr>
            <a:r>
              <a:rPr lang="en-US" sz="14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 pitchFamily="-72" charset="-128"/>
                <a:cs typeface="ＭＳ Ｐゴシック" pitchFamily="-72" charset="-128"/>
              </a:rPr>
              <a:t>&amp; Daytime</a:t>
            </a:r>
          </a:p>
          <a:p>
            <a:pPr algn="ctr" eaLnBrk="1" hangingPunct="1">
              <a:defRPr/>
            </a:pPr>
            <a:r>
              <a:rPr lang="en-US" sz="1400" b="1" dirty="0">
                <a:solidFill>
                  <a:schemeClr val="bg1"/>
                </a:solidFill>
                <a:latin typeface="Tw Cen MT" panose="020B0602020104020603" pitchFamily="34" charset="0"/>
                <a:ea typeface="ＭＳ Ｐゴシック" pitchFamily="-72" charset="-128"/>
                <a:cs typeface="ＭＳ Ｐゴシック" pitchFamily="-72" charset="-128"/>
              </a:rPr>
              <a:t>1,200,000</a:t>
            </a:r>
            <a:endParaRPr lang="en-US" sz="1200" b="1" dirty="0">
              <a:solidFill>
                <a:schemeClr val="bg1"/>
              </a:solidFill>
              <a:latin typeface="Tw Cen MT" panose="020B0602020104020603" pitchFamily="34" charset="0"/>
              <a:ea typeface="ＭＳ Ｐゴシック" pitchFamily="-72" charset="-128"/>
              <a:cs typeface="ＭＳ Ｐゴシック" pitchFamily="-72" charset="-128"/>
            </a:endParaRPr>
          </a:p>
          <a:p>
            <a:pPr algn="ctr" eaLnBrk="1" hangingPunct="1">
              <a:defRPr/>
            </a:pPr>
            <a:endParaRPr lang="en-US" sz="1200" b="1" dirty="0">
              <a:latin typeface="+mn-lt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7FF2BCB-C6AC-40A5-A27E-B994FDFD1ED3}"/>
              </a:ext>
            </a:extLst>
          </p:cNvPr>
          <p:cNvSpPr txBox="1"/>
          <p:nvPr/>
        </p:nvSpPr>
        <p:spPr>
          <a:xfrm>
            <a:off x="7391400" y="3552825"/>
            <a:ext cx="1144588" cy="7080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1400" b="1" dirty="0">
                <a:latin typeface="Tw Cen MT" panose="020B0602020104020603" pitchFamily="34" charset="0"/>
                <a:ea typeface="ＭＳ Ｐゴシック" pitchFamily="-72" charset="-128"/>
                <a:cs typeface="ＭＳ Ｐゴシック" pitchFamily="-72" charset="-128"/>
              </a:rPr>
              <a:t>Daytime</a:t>
            </a:r>
          </a:p>
          <a:p>
            <a:pPr algn="ctr" eaLnBrk="1" hangingPunct="1">
              <a:defRPr/>
            </a:pPr>
            <a:r>
              <a:rPr lang="en-US" sz="1400" b="1" dirty="0">
                <a:latin typeface="Tw Cen MT" panose="020B0602020104020603" pitchFamily="34" charset="0"/>
                <a:ea typeface="ＭＳ Ｐゴシック" pitchFamily="-72" charset="-128"/>
                <a:cs typeface="ＭＳ Ｐゴシック" pitchFamily="-72" charset="-128"/>
              </a:rPr>
              <a:t>1,800,000</a:t>
            </a:r>
            <a:endParaRPr lang="en-US" sz="1200" b="1" dirty="0">
              <a:latin typeface="Tw Cen MT" panose="020B0602020104020603" pitchFamily="34" charset="0"/>
              <a:ea typeface="ＭＳ Ｐゴシック" pitchFamily="-72" charset="-128"/>
              <a:cs typeface="ＭＳ Ｐゴシック" pitchFamily="-72" charset="-128"/>
            </a:endParaRPr>
          </a:p>
          <a:p>
            <a:pPr algn="ctr" eaLnBrk="1" hangingPunct="1">
              <a:defRPr/>
            </a:pPr>
            <a:endParaRPr lang="en-US" sz="1200" b="1" dirty="0">
              <a:latin typeface="+mn-lt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21" name="TextBox 7">
            <a:extLst>
              <a:ext uri="{FF2B5EF4-FFF2-40B4-BE49-F238E27FC236}">
                <a16:creationId xmlns:a16="http://schemas.microsoft.com/office/drawing/2014/main" id="{9676ED59-6DFF-4A0F-B2AF-7AAC54BC58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Size of Market</a:t>
            </a:r>
          </a:p>
        </p:txBody>
      </p:sp>
      <p:pic>
        <p:nvPicPr>
          <p:cNvPr id="42002" name="Picture 26">
            <a:extLst>
              <a:ext uri="{FF2B5EF4-FFF2-40B4-BE49-F238E27FC236}">
                <a16:creationId xmlns:a16="http://schemas.microsoft.com/office/drawing/2014/main" id="{E9F9AA6F-79CF-48E7-877D-E1E76F5E70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Footer Placeholder 3">
            <a:extLst>
              <a:ext uri="{FF2B5EF4-FFF2-40B4-BE49-F238E27FC236}">
                <a16:creationId xmlns:a16="http://schemas.microsoft.com/office/drawing/2014/main" id="{F7449C1D-69A1-42B9-8E1D-C119EF294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8EBA1DEC-5326-4751-ABDA-16A91C1D44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BE05A635-4102-41B5-A808-CFA587981E25}" type="slidenum">
              <a:rPr lang="en-US" sz="950" b="1"/>
              <a:pPr>
                <a:defRPr/>
              </a:pPr>
              <a:t>11</a:t>
            </a:fld>
            <a:endParaRPr lang="en-US" sz="950" b="1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8811123-7089-4A64-A7FF-1F3C86EC615F}"/>
              </a:ext>
            </a:extLst>
          </p:cNvPr>
          <p:cNvCxnSpPr/>
          <p:nvPr/>
        </p:nvCxnSpPr>
        <p:spPr>
          <a:xfrm>
            <a:off x="5641975" y="4068763"/>
            <a:ext cx="814388" cy="0"/>
          </a:xfrm>
          <a:prstGeom prst="line">
            <a:avLst/>
          </a:prstGeom>
          <a:ln w="158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64D323CA-6C47-4AF9-B1FF-C59E58484651}"/>
              </a:ext>
            </a:extLst>
          </p:cNvPr>
          <p:cNvSpPr txBox="1"/>
          <p:nvPr/>
        </p:nvSpPr>
        <p:spPr>
          <a:xfrm>
            <a:off x="3832225" y="1460500"/>
            <a:ext cx="4765675" cy="769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2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 </a:t>
            </a:r>
            <a:r>
              <a:rPr lang="en-US" sz="2200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Only </a:t>
            </a:r>
            <a:r>
              <a:rPr lang="en-US" sz="2200" b="1" u="sng" dirty="0">
                <a:solidFill>
                  <a:srgbClr val="FF2929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blindness</a:t>
            </a:r>
            <a:r>
              <a:rPr lang="en-US" sz="2200" dirty="0">
                <a:solidFill>
                  <a:srgbClr val="FF2929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 </a:t>
            </a:r>
            <a:r>
              <a:rPr lang="en-US" sz="2200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or </a:t>
            </a:r>
            <a:r>
              <a:rPr lang="en-US" sz="2200" b="1" u="sng" dirty="0">
                <a:solidFill>
                  <a:srgbClr val="FF2929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death of parent</a:t>
            </a:r>
            <a:r>
              <a:rPr lang="en-US" sz="2200" b="1" dirty="0">
                <a:solidFill>
                  <a:srgbClr val="FF2929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 </a:t>
            </a:r>
            <a:r>
              <a:rPr lang="en-US" sz="2200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is more traumatic to a child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B50B5ED8-3F9B-47E8-8332-A54DC728B3D4}"/>
              </a:ext>
            </a:extLst>
          </p:cNvPr>
          <p:cNvSpPr/>
          <p:nvPr/>
        </p:nvSpPr>
        <p:spPr>
          <a:xfrm>
            <a:off x="1785503" y="2671945"/>
            <a:ext cx="1473069" cy="1274265"/>
          </a:xfrm>
          <a:custGeom>
            <a:avLst/>
            <a:gdLst>
              <a:gd name="connsiteX0" fmla="*/ 0 w 1473069"/>
              <a:gd name="connsiteY0" fmla="*/ 637133 h 1274265"/>
              <a:gd name="connsiteX1" fmla="*/ 364058 w 1473069"/>
              <a:gd name="connsiteY1" fmla="*/ 0 h 1274265"/>
              <a:gd name="connsiteX2" fmla="*/ 1109011 w 1473069"/>
              <a:gd name="connsiteY2" fmla="*/ 0 h 1274265"/>
              <a:gd name="connsiteX3" fmla="*/ 1473069 w 1473069"/>
              <a:gd name="connsiteY3" fmla="*/ 637133 h 1274265"/>
              <a:gd name="connsiteX4" fmla="*/ 1109011 w 1473069"/>
              <a:gd name="connsiteY4" fmla="*/ 1274265 h 1274265"/>
              <a:gd name="connsiteX5" fmla="*/ 364058 w 1473069"/>
              <a:gd name="connsiteY5" fmla="*/ 1274265 h 1274265"/>
              <a:gd name="connsiteX6" fmla="*/ 0 w 1473069"/>
              <a:gd name="connsiteY6" fmla="*/ 637133 h 1274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3069" h="1274265">
                <a:moveTo>
                  <a:pt x="0" y="637133"/>
                </a:moveTo>
                <a:lnTo>
                  <a:pt x="364058" y="0"/>
                </a:lnTo>
                <a:lnTo>
                  <a:pt x="1109011" y="0"/>
                </a:lnTo>
                <a:lnTo>
                  <a:pt x="1473069" y="637133"/>
                </a:lnTo>
                <a:lnTo>
                  <a:pt x="1109011" y="1274265"/>
                </a:lnTo>
                <a:lnTo>
                  <a:pt x="364058" y="1274265"/>
                </a:lnTo>
                <a:lnTo>
                  <a:pt x="0" y="637133"/>
                </a:lnTo>
                <a:close/>
              </a:path>
            </a:pathLst>
          </a:custGeom>
          <a:solidFill>
            <a:srgbClr val="FF2929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60618" tIns="227674" rIns="260618" bIns="227674" spcCol="1270" anchor="ctr"/>
          <a:lstStyle/>
          <a:p>
            <a:pPr algn="ctr" defTabSz="57785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3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sychological &amp; Physical</a:t>
            </a:r>
          </a:p>
        </p:txBody>
      </p:sp>
      <p:sp>
        <p:nvSpPr>
          <p:cNvPr id="5" name="Hexagon 4">
            <a:extLst>
              <a:ext uri="{FF2B5EF4-FFF2-40B4-BE49-F238E27FC236}">
                <a16:creationId xmlns:a16="http://schemas.microsoft.com/office/drawing/2014/main" id="{A3DACEB4-8828-452B-BAA5-6048D7A51A8A}"/>
              </a:ext>
            </a:extLst>
          </p:cNvPr>
          <p:cNvSpPr/>
          <p:nvPr/>
        </p:nvSpPr>
        <p:spPr>
          <a:xfrm>
            <a:off x="2707928" y="2062295"/>
            <a:ext cx="555784" cy="478882"/>
          </a:xfrm>
          <a:prstGeom prst="hexagon">
            <a:avLst>
              <a:gd name="adj" fmla="val 28900"/>
              <a:gd name="vf" fmla="val 115470"/>
            </a:avLst>
          </a:prstGeom>
          <a:noFill/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E84A242-79B4-4847-BE1F-52E5C2C8B747}"/>
              </a:ext>
            </a:extLst>
          </p:cNvPr>
          <p:cNvSpPr/>
          <p:nvPr/>
        </p:nvSpPr>
        <p:spPr>
          <a:xfrm>
            <a:off x="1921194" y="1513000"/>
            <a:ext cx="1207170" cy="1044344"/>
          </a:xfrm>
          <a:custGeom>
            <a:avLst/>
            <a:gdLst>
              <a:gd name="connsiteX0" fmla="*/ 0 w 1207170"/>
              <a:gd name="connsiteY0" fmla="*/ 522172 h 1044344"/>
              <a:gd name="connsiteX1" fmla="*/ 298369 w 1207170"/>
              <a:gd name="connsiteY1" fmla="*/ 0 h 1044344"/>
              <a:gd name="connsiteX2" fmla="*/ 908801 w 1207170"/>
              <a:gd name="connsiteY2" fmla="*/ 0 h 1044344"/>
              <a:gd name="connsiteX3" fmla="*/ 1207170 w 1207170"/>
              <a:gd name="connsiteY3" fmla="*/ 522172 h 1044344"/>
              <a:gd name="connsiteX4" fmla="*/ 908801 w 1207170"/>
              <a:gd name="connsiteY4" fmla="*/ 1044344 h 1044344"/>
              <a:gd name="connsiteX5" fmla="*/ 298369 w 1207170"/>
              <a:gd name="connsiteY5" fmla="*/ 1044344 h 1044344"/>
              <a:gd name="connsiteX6" fmla="*/ 0 w 1207170"/>
              <a:gd name="connsiteY6" fmla="*/ 522172 h 104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170" h="1044344">
                <a:moveTo>
                  <a:pt x="0" y="522172"/>
                </a:moveTo>
                <a:lnTo>
                  <a:pt x="298369" y="0"/>
                </a:lnTo>
                <a:lnTo>
                  <a:pt x="908801" y="0"/>
                </a:lnTo>
                <a:lnTo>
                  <a:pt x="1207170" y="522172"/>
                </a:lnTo>
                <a:lnTo>
                  <a:pt x="908801" y="1044344"/>
                </a:lnTo>
                <a:lnTo>
                  <a:pt x="298369" y="1044344"/>
                </a:lnTo>
                <a:lnTo>
                  <a:pt x="0" y="522172"/>
                </a:lnTo>
                <a:close/>
              </a:path>
            </a:pathLst>
          </a:custGeom>
          <a:solidFill>
            <a:srgbClr val="C0000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16564" tIns="189580" rIns="216564" bIns="189580" spcCol="1270" anchor="ctr"/>
          <a:lstStyle/>
          <a:p>
            <a:pPr algn="ctr" defTabSz="57785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300" dirty="0"/>
              <a:t>Major Depression</a:t>
            </a:r>
          </a:p>
        </p:txBody>
      </p:sp>
      <p:sp>
        <p:nvSpPr>
          <p:cNvPr id="10" name="Hexagon 9">
            <a:extLst>
              <a:ext uri="{FF2B5EF4-FFF2-40B4-BE49-F238E27FC236}">
                <a16:creationId xmlns:a16="http://schemas.microsoft.com/office/drawing/2014/main" id="{B544E6B2-2E5C-4DEC-8D81-B3C430F5EAFD}"/>
              </a:ext>
            </a:extLst>
          </p:cNvPr>
          <p:cNvSpPr/>
          <p:nvPr/>
        </p:nvSpPr>
        <p:spPr>
          <a:xfrm>
            <a:off x="3356572" y="2957550"/>
            <a:ext cx="555784" cy="478882"/>
          </a:xfrm>
          <a:prstGeom prst="hexagon">
            <a:avLst>
              <a:gd name="adj" fmla="val 28900"/>
              <a:gd name="vf" fmla="val 115470"/>
            </a:avLst>
          </a:prstGeom>
          <a:noFill/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B1510E50-3A38-47FD-9134-E0EE60045FB6}"/>
              </a:ext>
            </a:extLst>
          </p:cNvPr>
          <p:cNvSpPr/>
          <p:nvPr/>
        </p:nvSpPr>
        <p:spPr>
          <a:xfrm>
            <a:off x="3028309" y="2155341"/>
            <a:ext cx="1207170" cy="1044344"/>
          </a:xfrm>
          <a:custGeom>
            <a:avLst/>
            <a:gdLst>
              <a:gd name="connsiteX0" fmla="*/ 0 w 1207170"/>
              <a:gd name="connsiteY0" fmla="*/ 522172 h 1044344"/>
              <a:gd name="connsiteX1" fmla="*/ 298369 w 1207170"/>
              <a:gd name="connsiteY1" fmla="*/ 0 h 1044344"/>
              <a:gd name="connsiteX2" fmla="*/ 908801 w 1207170"/>
              <a:gd name="connsiteY2" fmla="*/ 0 h 1044344"/>
              <a:gd name="connsiteX3" fmla="*/ 1207170 w 1207170"/>
              <a:gd name="connsiteY3" fmla="*/ 522172 h 1044344"/>
              <a:gd name="connsiteX4" fmla="*/ 908801 w 1207170"/>
              <a:gd name="connsiteY4" fmla="*/ 1044344 h 1044344"/>
              <a:gd name="connsiteX5" fmla="*/ 298369 w 1207170"/>
              <a:gd name="connsiteY5" fmla="*/ 1044344 h 1044344"/>
              <a:gd name="connsiteX6" fmla="*/ 0 w 1207170"/>
              <a:gd name="connsiteY6" fmla="*/ 522172 h 104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170" h="1044344">
                <a:moveTo>
                  <a:pt x="0" y="522172"/>
                </a:moveTo>
                <a:lnTo>
                  <a:pt x="298369" y="0"/>
                </a:lnTo>
                <a:lnTo>
                  <a:pt x="908801" y="0"/>
                </a:lnTo>
                <a:lnTo>
                  <a:pt x="1207170" y="522172"/>
                </a:lnTo>
                <a:lnTo>
                  <a:pt x="908801" y="1044344"/>
                </a:lnTo>
                <a:lnTo>
                  <a:pt x="298369" y="1044344"/>
                </a:lnTo>
                <a:lnTo>
                  <a:pt x="0" y="522172"/>
                </a:lnTo>
                <a:close/>
              </a:path>
            </a:pathLst>
          </a:custGeom>
          <a:solidFill>
            <a:srgbClr val="C0000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16564" tIns="189580" rIns="216564" bIns="189580" spcCol="1270" anchor="ctr"/>
          <a:lstStyle/>
          <a:p>
            <a:pPr algn="ctr" defTabSz="57785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300" dirty="0"/>
              <a:t>Low Self-Esteem</a:t>
            </a:r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7DDB71A2-728E-4B36-8421-65C1B3C042D4}"/>
              </a:ext>
            </a:extLst>
          </p:cNvPr>
          <p:cNvSpPr/>
          <p:nvPr/>
        </p:nvSpPr>
        <p:spPr>
          <a:xfrm>
            <a:off x="2905982" y="3968124"/>
            <a:ext cx="555784" cy="478882"/>
          </a:xfrm>
          <a:prstGeom prst="hexagon">
            <a:avLst>
              <a:gd name="adj" fmla="val 28900"/>
              <a:gd name="vf" fmla="val 115470"/>
            </a:avLst>
          </a:prstGeom>
          <a:noFill/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3FF55C71-708C-4B4E-AD20-06C094A90EE4}"/>
              </a:ext>
            </a:extLst>
          </p:cNvPr>
          <p:cNvSpPr/>
          <p:nvPr/>
        </p:nvSpPr>
        <p:spPr>
          <a:xfrm>
            <a:off x="3028309" y="3418110"/>
            <a:ext cx="1207170" cy="1044344"/>
          </a:xfrm>
          <a:custGeom>
            <a:avLst/>
            <a:gdLst>
              <a:gd name="connsiteX0" fmla="*/ 0 w 1207170"/>
              <a:gd name="connsiteY0" fmla="*/ 522172 h 1044344"/>
              <a:gd name="connsiteX1" fmla="*/ 298369 w 1207170"/>
              <a:gd name="connsiteY1" fmla="*/ 0 h 1044344"/>
              <a:gd name="connsiteX2" fmla="*/ 908801 w 1207170"/>
              <a:gd name="connsiteY2" fmla="*/ 0 h 1044344"/>
              <a:gd name="connsiteX3" fmla="*/ 1207170 w 1207170"/>
              <a:gd name="connsiteY3" fmla="*/ 522172 h 1044344"/>
              <a:gd name="connsiteX4" fmla="*/ 908801 w 1207170"/>
              <a:gd name="connsiteY4" fmla="*/ 1044344 h 1044344"/>
              <a:gd name="connsiteX5" fmla="*/ 298369 w 1207170"/>
              <a:gd name="connsiteY5" fmla="*/ 1044344 h 1044344"/>
              <a:gd name="connsiteX6" fmla="*/ 0 w 1207170"/>
              <a:gd name="connsiteY6" fmla="*/ 522172 h 104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170" h="1044344">
                <a:moveTo>
                  <a:pt x="0" y="522172"/>
                </a:moveTo>
                <a:lnTo>
                  <a:pt x="298369" y="0"/>
                </a:lnTo>
                <a:lnTo>
                  <a:pt x="908801" y="0"/>
                </a:lnTo>
                <a:lnTo>
                  <a:pt x="1207170" y="522172"/>
                </a:lnTo>
                <a:lnTo>
                  <a:pt x="908801" y="1044344"/>
                </a:lnTo>
                <a:lnTo>
                  <a:pt x="298369" y="1044344"/>
                </a:lnTo>
                <a:lnTo>
                  <a:pt x="0" y="522172"/>
                </a:lnTo>
                <a:close/>
              </a:path>
            </a:pathLst>
          </a:custGeom>
          <a:solidFill>
            <a:srgbClr val="C0000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16564" tIns="189580" rIns="216564" bIns="189580" spcCol="1270" anchor="ctr"/>
          <a:lstStyle/>
          <a:p>
            <a:pPr algn="ctr" defTabSz="57785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300" dirty="0"/>
              <a:t>Kidney &amp; Urinary Tract Infections</a:t>
            </a:r>
          </a:p>
        </p:txBody>
      </p:sp>
      <p:sp>
        <p:nvSpPr>
          <p:cNvPr id="16" name="Hexagon 15">
            <a:extLst>
              <a:ext uri="{FF2B5EF4-FFF2-40B4-BE49-F238E27FC236}">
                <a16:creationId xmlns:a16="http://schemas.microsoft.com/office/drawing/2014/main" id="{E5B51774-928F-49C6-A8A9-7AEA0DA422A9}"/>
              </a:ext>
            </a:extLst>
          </p:cNvPr>
          <p:cNvSpPr/>
          <p:nvPr/>
        </p:nvSpPr>
        <p:spPr>
          <a:xfrm>
            <a:off x="1788244" y="4073026"/>
            <a:ext cx="555784" cy="478882"/>
          </a:xfrm>
          <a:prstGeom prst="hexagon">
            <a:avLst>
              <a:gd name="adj" fmla="val 28900"/>
              <a:gd name="vf" fmla="val 115470"/>
            </a:avLst>
          </a:prstGeom>
          <a:noFill/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1C59F6B3-76ED-41E1-B602-856A284B84E9}"/>
              </a:ext>
            </a:extLst>
          </p:cNvPr>
          <p:cNvSpPr/>
          <p:nvPr/>
        </p:nvSpPr>
        <p:spPr>
          <a:xfrm>
            <a:off x="796582" y="2098576"/>
            <a:ext cx="1207170" cy="1044344"/>
          </a:xfrm>
          <a:custGeom>
            <a:avLst/>
            <a:gdLst>
              <a:gd name="connsiteX0" fmla="*/ 0 w 1207170"/>
              <a:gd name="connsiteY0" fmla="*/ 522172 h 1044344"/>
              <a:gd name="connsiteX1" fmla="*/ 298369 w 1207170"/>
              <a:gd name="connsiteY1" fmla="*/ 0 h 1044344"/>
              <a:gd name="connsiteX2" fmla="*/ 908801 w 1207170"/>
              <a:gd name="connsiteY2" fmla="*/ 0 h 1044344"/>
              <a:gd name="connsiteX3" fmla="*/ 1207170 w 1207170"/>
              <a:gd name="connsiteY3" fmla="*/ 522172 h 1044344"/>
              <a:gd name="connsiteX4" fmla="*/ 908801 w 1207170"/>
              <a:gd name="connsiteY4" fmla="*/ 1044344 h 1044344"/>
              <a:gd name="connsiteX5" fmla="*/ 298369 w 1207170"/>
              <a:gd name="connsiteY5" fmla="*/ 1044344 h 1044344"/>
              <a:gd name="connsiteX6" fmla="*/ 0 w 1207170"/>
              <a:gd name="connsiteY6" fmla="*/ 522172 h 104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170" h="1044344">
                <a:moveTo>
                  <a:pt x="0" y="522172"/>
                </a:moveTo>
                <a:lnTo>
                  <a:pt x="298369" y="0"/>
                </a:lnTo>
                <a:lnTo>
                  <a:pt x="908801" y="0"/>
                </a:lnTo>
                <a:lnTo>
                  <a:pt x="1207170" y="522172"/>
                </a:lnTo>
                <a:lnTo>
                  <a:pt x="908801" y="1044344"/>
                </a:lnTo>
                <a:lnTo>
                  <a:pt x="298369" y="1044344"/>
                </a:lnTo>
                <a:lnTo>
                  <a:pt x="0" y="522172"/>
                </a:lnTo>
                <a:close/>
              </a:path>
            </a:pathLst>
          </a:custGeom>
          <a:solidFill>
            <a:srgbClr val="C0000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16564" tIns="189580" rIns="216564" bIns="189580" spcCol="1270" anchor="ctr"/>
          <a:lstStyle/>
          <a:p>
            <a:pPr algn="ctr" defTabSz="57785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300" dirty="0"/>
              <a:t>Suicide</a:t>
            </a:r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id="{A4ABE76B-8A44-4611-99DA-45D4FF624181}"/>
              </a:ext>
            </a:extLst>
          </p:cNvPr>
          <p:cNvSpPr/>
          <p:nvPr/>
        </p:nvSpPr>
        <p:spPr>
          <a:xfrm>
            <a:off x="1128978" y="3178130"/>
            <a:ext cx="555784" cy="478882"/>
          </a:xfrm>
          <a:prstGeom prst="hexagon">
            <a:avLst>
              <a:gd name="adj" fmla="val 28900"/>
              <a:gd name="vf" fmla="val 115470"/>
            </a:avLst>
          </a:prstGeom>
          <a:noFill/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8F7110D1-E2DD-477E-9CD2-4F8ED10AD1FC}"/>
              </a:ext>
            </a:extLst>
          </p:cNvPr>
          <p:cNvSpPr/>
          <p:nvPr/>
        </p:nvSpPr>
        <p:spPr>
          <a:xfrm>
            <a:off x="808939" y="3418829"/>
            <a:ext cx="1207170" cy="1044344"/>
          </a:xfrm>
          <a:custGeom>
            <a:avLst/>
            <a:gdLst>
              <a:gd name="connsiteX0" fmla="*/ 0 w 1207170"/>
              <a:gd name="connsiteY0" fmla="*/ 522172 h 1044344"/>
              <a:gd name="connsiteX1" fmla="*/ 298369 w 1207170"/>
              <a:gd name="connsiteY1" fmla="*/ 0 h 1044344"/>
              <a:gd name="connsiteX2" fmla="*/ 908801 w 1207170"/>
              <a:gd name="connsiteY2" fmla="*/ 0 h 1044344"/>
              <a:gd name="connsiteX3" fmla="*/ 1207170 w 1207170"/>
              <a:gd name="connsiteY3" fmla="*/ 522172 h 1044344"/>
              <a:gd name="connsiteX4" fmla="*/ 908801 w 1207170"/>
              <a:gd name="connsiteY4" fmla="*/ 1044344 h 1044344"/>
              <a:gd name="connsiteX5" fmla="*/ 298369 w 1207170"/>
              <a:gd name="connsiteY5" fmla="*/ 1044344 h 1044344"/>
              <a:gd name="connsiteX6" fmla="*/ 0 w 1207170"/>
              <a:gd name="connsiteY6" fmla="*/ 522172 h 104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170" h="1044344">
                <a:moveTo>
                  <a:pt x="0" y="522172"/>
                </a:moveTo>
                <a:lnTo>
                  <a:pt x="298369" y="0"/>
                </a:lnTo>
                <a:lnTo>
                  <a:pt x="908801" y="0"/>
                </a:lnTo>
                <a:lnTo>
                  <a:pt x="1207170" y="522172"/>
                </a:lnTo>
                <a:lnTo>
                  <a:pt x="908801" y="1044344"/>
                </a:lnTo>
                <a:lnTo>
                  <a:pt x="298369" y="1044344"/>
                </a:lnTo>
                <a:lnTo>
                  <a:pt x="0" y="522172"/>
                </a:lnTo>
                <a:close/>
              </a:path>
            </a:pathLst>
          </a:custGeom>
          <a:solidFill>
            <a:srgbClr val="C0000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16564" tIns="189580" rIns="216564" bIns="189580" spcCol="1270" anchor="ctr"/>
          <a:lstStyle/>
          <a:p>
            <a:pPr algn="ctr" defTabSz="57785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300" dirty="0"/>
              <a:t>Severe Medication Side Effects</a:t>
            </a:r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9A24677C-1135-48B8-A4FD-E3D1F7B09D9E}"/>
              </a:ext>
            </a:extLst>
          </p:cNvPr>
          <p:cNvSpPr/>
          <p:nvPr/>
        </p:nvSpPr>
        <p:spPr>
          <a:xfrm>
            <a:off x="1898748" y="4061170"/>
            <a:ext cx="1207170" cy="1044344"/>
          </a:xfrm>
          <a:custGeom>
            <a:avLst/>
            <a:gdLst>
              <a:gd name="connsiteX0" fmla="*/ 0 w 1207170"/>
              <a:gd name="connsiteY0" fmla="*/ 522172 h 1044344"/>
              <a:gd name="connsiteX1" fmla="*/ 298369 w 1207170"/>
              <a:gd name="connsiteY1" fmla="*/ 0 h 1044344"/>
              <a:gd name="connsiteX2" fmla="*/ 908801 w 1207170"/>
              <a:gd name="connsiteY2" fmla="*/ 0 h 1044344"/>
              <a:gd name="connsiteX3" fmla="*/ 1207170 w 1207170"/>
              <a:gd name="connsiteY3" fmla="*/ 522172 h 1044344"/>
              <a:gd name="connsiteX4" fmla="*/ 908801 w 1207170"/>
              <a:gd name="connsiteY4" fmla="*/ 1044344 h 1044344"/>
              <a:gd name="connsiteX5" fmla="*/ 298369 w 1207170"/>
              <a:gd name="connsiteY5" fmla="*/ 1044344 h 1044344"/>
              <a:gd name="connsiteX6" fmla="*/ 0 w 1207170"/>
              <a:gd name="connsiteY6" fmla="*/ 522172 h 104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170" h="1044344">
                <a:moveTo>
                  <a:pt x="0" y="522172"/>
                </a:moveTo>
                <a:lnTo>
                  <a:pt x="298369" y="0"/>
                </a:lnTo>
                <a:lnTo>
                  <a:pt x="908801" y="0"/>
                </a:lnTo>
                <a:lnTo>
                  <a:pt x="1207170" y="522172"/>
                </a:lnTo>
                <a:lnTo>
                  <a:pt x="908801" y="1044344"/>
                </a:lnTo>
                <a:lnTo>
                  <a:pt x="298369" y="1044344"/>
                </a:lnTo>
                <a:lnTo>
                  <a:pt x="0" y="522172"/>
                </a:lnTo>
                <a:close/>
              </a:path>
            </a:pathLst>
          </a:custGeom>
          <a:solidFill>
            <a:srgbClr val="C0000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16564" tIns="189580" rIns="216564" bIns="189580" spcCol="1270" anchor="ctr"/>
          <a:lstStyle/>
          <a:p>
            <a:pPr algn="ctr" defTabSz="57785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300" dirty="0"/>
              <a:t>Personality Disorders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C097CFD0-D1C0-4AEF-8593-7407410C5B7B}"/>
              </a:ext>
            </a:extLst>
          </p:cNvPr>
          <p:cNvSpPr/>
          <p:nvPr/>
        </p:nvSpPr>
        <p:spPr>
          <a:xfrm>
            <a:off x="5863368" y="3761826"/>
            <a:ext cx="1473069" cy="1274265"/>
          </a:xfrm>
          <a:custGeom>
            <a:avLst/>
            <a:gdLst>
              <a:gd name="connsiteX0" fmla="*/ 0 w 1473069"/>
              <a:gd name="connsiteY0" fmla="*/ 637133 h 1274265"/>
              <a:gd name="connsiteX1" fmla="*/ 364058 w 1473069"/>
              <a:gd name="connsiteY1" fmla="*/ 0 h 1274265"/>
              <a:gd name="connsiteX2" fmla="*/ 1109011 w 1473069"/>
              <a:gd name="connsiteY2" fmla="*/ 0 h 1274265"/>
              <a:gd name="connsiteX3" fmla="*/ 1473069 w 1473069"/>
              <a:gd name="connsiteY3" fmla="*/ 637133 h 1274265"/>
              <a:gd name="connsiteX4" fmla="*/ 1109011 w 1473069"/>
              <a:gd name="connsiteY4" fmla="*/ 1274265 h 1274265"/>
              <a:gd name="connsiteX5" fmla="*/ 364058 w 1473069"/>
              <a:gd name="connsiteY5" fmla="*/ 1274265 h 1274265"/>
              <a:gd name="connsiteX6" fmla="*/ 0 w 1473069"/>
              <a:gd name="connsiteY6" fmla="*/ 637133 h 1274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3069" h="1274265">
                <a:moveTo>
                  <a:pt x="0" y="637133"/>
                </a:moveTo>
                <a:lnTo>
                  <a:pt x="364058" y="0"/>
                </a:lnTo>
                <a:lnTo>
                  <a:pt x="1109011" y="0"/>
                </a:lnTo>
                <a:lnTo>
                  <a:pt x="1473069" y="637133"/>
                </a:lnTo>
                <a:lnTo>
                  <a:pt x="1109011" y="1274265"/>
                </a:lnTo>
                <a:lnTo>
                  <a:pt x="364058" y="1274265"/>
                </a:lnTo>
                <a:lnTo>
                  <a:pt x="0" y="637133"/>
                </a:lnTo>
                <a:close/>
              </a:path>
            </a:pathLst>
          </a:custGeom>
          <a:solidFill>
            <a:srgbClr val="FF2929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60618" tIns="227674" rIns="260618" bIns="227674" spcCol="1270" anchor="ctr"/>
          <a:lstStyle/>
          <a:p>
            <a:pPr algn="ctr" defTabSz="57785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3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mily</a:t>
            </a:r>
          </a:p>
          <a:p>
            <a:pPr algn="ctr" defTabSz="57785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3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&amp; Social</a:t>
            </a:r>
          </a:p>
        </p:txBody>
      </p:sp>
      <p:sp>
        <p:nvSpPr>
          <p:cNvPr id="23" name="Hexagon 22">
            <a:extLst>
              <a:ext uri="{FF2B5EF4-FFF2-40B4-BE49-F238E27FC236}">
                <a16:creationId xmlns:a16="http://schemas.microsoft.com/office/drawing/2014/main" id="{9C1C39FF-ACFB-461F-9989-DA329A82F40B}"/>
              </a:ext>
            </a:extLst>
          </p:cNvPr>
          <p:cNvSpPr/>
          <p:nvPr/>
        </p:nvSpPr>
        <p:spPr>
          <a:xfrm>
            <a:off x="6785793" y="3152176"/>
            <a:ext cx="555784" cy="478882"/>
          </a:xfrm>
          <a:prstGeom prst="hexagon">
            <a:avLst>
              <a:gd name="adj" fmla="val 28900"/>
              <a:gd name="vf" fmla="val 115470"/>
            </a:avLst>
          </a:prstGeom>
          <a:noFill/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C37DA2C6-E985-4456-AE17-90B1906EDC77}"/>
              </a:ext>
            </a:extLst>
          </p:cNvPr>
          <p:cNvSpPr/>
          <p:nvPr/>
        </p:nvSpPr>
        <p:spPr>
          <a:xfrm>
            <a:off x="5999059" y="2602881"/>
            <a:ext cx="1207170" cy="1044344"/>
          </a:xfrm>
          <a:custGeom>
            <a:avLst/>
            <a:gdLst>
              <a:gd name="connsiteX0" fmla="*/ 0 w 1207170"/>
              <a:gd name="connsiteY0" fmla="*/ 522172 h 1044344"/>
              <a:gd name="connsiteX1" fmla="*/ 298369 w 1207170"/>
              <a:gd name="connsiteY1" fmla="*/ 0 h 1044344"/>
              <a:gd name="connsiteX2" fmla="*/ 908801 w 1207170"/>
              <a:gd name="connsiteY2" fmla="*/ 0 h 1044344"/>
              <a:gd name="connsiteX3" fmla="*/ 1207170 w 1207170"/>
              <a:gd name="connsiteY3" fmla="*/ 522172 h 1044344"/>
              <a:gd name="connsiteX4" fmla="*/ 908801 w 1207170"/>
              <a:gd name="connsiteY4" fmla="*/ 1044344 h 1044344"/>
              <a:gd name="connsiteX5" fmla="*/ 298369 w 1207170"/>
              <a:gd name="connsiteY5" fmla="*/ 1044344 h 1044344"/>
              <a:gd name="connsiteX6" fmla="*/ 0 w 1207170"/>
              <a:gd name="connsiteY6" fmla="*/ 522172 h 104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170" h="1044344">
                <a:moveTo>
                  <a:pt x="0" y="522172"/>
                </a:moveTo>
                <a:lnTo>
                  <a:pt x="298369" y="0"/>
                </a:lnTo>
                <a:lnTo>
                  <a:pt x="908801" y="0"/>
                </a:lnTo>
                <a:lnTo>
                  <a:pt x="1207170" y="522172"/>
                </a:lnTo>
                <a:lnTo>
                  <a:pt x="908801" y="1044344"/>
                </a:lnTo>
                <a:lnTo>
                  <a:pt x="298369" y="1044344"/>
                </a:lnTo>
                <a:lnTo>
                  <a:pt x="0" y="522172"/>
                </a:lnTo>
                <a:close/>
              </a:path>
            </a:pathLst>
          </a:custGeom>
          <a:solidFill>
            <a:srgbClr val="C0000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15294" tIns="188310" rIns="215294" bIns="188310" spcCol="1270" anchor="ctr"/>
          <a:lstStyle/>
          <a:p>
            <a:pPr algn="ctr" defTabSz="53340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dirty="0"/>
              <a:t>Parental Abuse &amp; Neglect</a:t>
            </a:r>
          </a:p>
        </p:txBody>
      </p:sp>
      <p:sp>
        <p:nvSpPr>
          <p:cNvPr id="25" name="Hexagon 24">
            <a:extLst>
              <a:ext uri="{FF2B5EF4-FFF2-40B4-BE49-F238E27FC236}">
                <a16:creationId xmlns:a16="http://schemas.microsoft.com/office/drawing/2014/main" id="{804F891B-1190-4DDA-8CF7-61D6C9A9E98D}"/>
              </a:ext>
            </a:extLst>
          </p:cNvPr>
          <p:cNvSpPr/>
          <p:nvPr/>
        </p:nvSpPr>
        <p:spPr>
          <a:xfrm>
            <a:off x="7434437" y="4047431"/>
            <a:ext cx="555784" cy="478882"/>
          </a:xfrm>
          <a:prstGeom prst="hexagon">
            <a:avLst>
              <a:gd name="adj" fmla="val 28900"/>
              <a:gd name="vf" fmla="val 115470"/>
            </a:avLst>
          </a:prstGeom>
          <a:noFill/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5A62148E-97FF-452E-85A4-E4B5F81ABFC5}"/>
              </a:ext>
            </a:extLst>
          </p:cNvPr>
          <p:cNvSpPr/>
          <p:nvPr/>
        </p:nvSpPr>
        <p:spPr>
          <a:xfrm>
            <a:off x="7106174" y="3245222"/>
            <a:ext cx="1207170" cy="1044344"/>
          </a:xfrm>
          <a:custGeom>
            <a:avLst/>
            <a:gdLst>
              <a:gd name="connsiteX0" fmla="*/ 0 w 1207170"/>
              <a:gd name="connsiteY0" fmla="*/ 522172 h 1044344"/>
              <a:gd name="connsiteX1" fmla="*/ 298369 w 1207170"/>
              <a:gd name="connsiteY1" fmla="*/ 0 h 1044344"/>
              <a:gd name="connsiteX2" fmla="*/ 908801 w 1207170"/>
              <a:gd name="connsiteY2" fmla="*/ 0 h 1044344"/>
              <a:gd name="connsiteX3" fmla="*/ 1207170 w 1207170"/>
              <a:gd name="connsiteY3" fmla="*/ 522172 h 1044344"/>
              <a:gd name="connsiteX4" fmla="*/ 908801 w 1207170"/>
              <a:gd name="connsiteY4" fmla="*/ 1044344 h 1044344"/>
              <a:gd name="connsiteX5" fmla="*/ 298369 w 1207170"/>
              <a:gd name="connsiteY5" fmla="*/ 1044344 h 1044344"/>
              <a:gd name="connsiteX6" fmla="*/ 0 w 1207170"/>
              <a:gd name="connsiteY6" fmla="*/ 522172 h 104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170" h="1044344">
                <a:moveTo>
                  <a:pt x="0" y="522172"/>
                </a:moveTo>
                <a:lnTo>
                  <a:pt x="298369" y="0"/>
                </a:lnTo>
                <a:lnTo>
                  <a:pt x="908801" y="0"/>
                </a:lnTo>
                <a:lnTo>
                  <a:pt x="1207170" y="522172"/>
                </a:lnTo>
                <a:lnTo>
                  <a:pt x="908801" y="1044344"/>
                </a:lnTo>
                <a:lnTo>
                  <a:pt x="298369" y="1044344"/>
                </a:lnTo>
                <a:lnTo>
                  <a:pt x="0" y="522172"/>
                </a:lnTo>
                <a:close/>
              </a:path>
            </a:pathLst>
          </a:custGeom>
          <a:solidFill>
            <a:srgbClr val="C0000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15294" tIns="188310" rIns="215294" bIns="188310" spcCol="1270" anchor="ctr"/>
          <a:lstStyle/>
          <a:p>
            <a:pPr algn="ctr" defTabSz="57785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dirty="0"/>
              <a:t>Social Isolation</a:t>
            </a:r>
          </a:p>
        </p:txBody>
      </p:sp>
      <p:sp>
        <p:nvSpPr>
          <p:cNvPr id="27" name="Hexagon 26">
            <a:extLst>
              <a:ext uri="{FF2B5EF4-FFF2-40B4-BE49-F238E27FC236}">
                <a16:creationId xmlns:a16="http://schemas.microsoft.com/office/drawing/2014/main" id="{D8E9EDC0-1BB9-46A7-88F5-8BD74476ACB5}"/>
              </a:ext>
            </a:extLst>
          </p:cNvPr>
          <p:cNvSpPr/>
          <p:nvPr/>
        </p:nvSpPr>
        <p:spPr>
          <a:xfrm>
            <a:off x="6983847" y="5058005"/>
            <a:ext cx="555784" cy="478882"/>
          </a:xfrm>
          <a:prstGeom prst="hexagon">
            <a:avLst>
              <a:gd name="adj" fmla="val 28900"/>
              <a:gd name="vf" fmla="val 115470"/>
            </a:avLst>
          </a:prstGeom>
          <a:noFill/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754B0BE-AE30-4571-8610-408632BA7239}"/>
              </a:ext>
            </a:extLst>
          </p:cNvPr>
          <p:cNvSpPr/>
          <p:nvPr/>
        </p:nvSpPr>
        <p:spPr>
          <a:xfrm>
            <a:off x="7106174" y="4507991"/>
            <a:ext cx="1207170" cy="1044344"/>
          </a:xfrm>
          <a:custGeom>
            <a:avLst/>
            <a:gdLst>
              <a:gd name="connsiteX0" fmla="*/ 0 w 1207170"/>
              <a:gd name="connsiteY0" fmla="*/ 522172 h 1044344"/>
              <a:gd name="connsiteX1" fmla="*/ 298369 w 1207170"/>
              <a:gd name="connsiteY1" fmla="*/ 0 h 1044344"/>
              <a:gd name="connsiteX2" fmla="*/ 908801 w 1207170"/>
              <a:gd name="connsiteY2" fmla="*/ 0 h 1044344"/>
              <a:gd name="connsiteX3" fmla="*/ 1207170 w 1207170"/>
              <a:gd name="connsiteY3" fmla="*/ 522172 h 1044344"/>
              <a:gd name="connsiteX4" fmla="*/ 908801 w 1207170"/>
              <a:gd name="connsiteY4" fmla="*/ 1044344 h 1044344"/>
              <a:gd name="connsiteX5" fmla="*/ 298369 w 1207170"/>
              <a:gd name="connsiteY5" fmla="*/ 1044344 h 1044344"/>
              <a:gd name="connsiteX6" fmla="*/ 0 w 1207170"/>
              <a:gd name="connsiteY6" fmla="*/ 522172 h 104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170" h="1044344">
                <a:moveTo>
                  <a:pt x="0" y="522172"/>
                </a:moveTo>
                <a:lnTo>
                  <a:pt x="298369" y="0"/>
                </a:lnTo>
                <a:lnTo>
                  <a:pt x="908801" y="0"/>
                </a:lnTo>
                <a:lnTo>
                  <a:pt x="1207170" y="522172"/>
                </a:lnTo>
                <a:lnTo>
                  <a:pt x="908801" y="1044344"/>
                </a:lnTo>
                <a:lnTo>
                  <a:pt x="298369" y="1044344"/>
                </a:lnTo>
                <a:lnTo>
                  <a:pt x="0" y="522172"/>
                </a:lnTo>
                <a:close/>
              </a:path>
            </a:pathLst>
          </a:custGeom>
          <a:solidFill>
            <a:srgbClr val="C0000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15294" tIns="188310" rIns="215294" bIns="188310" spcCol="1270" anchor="ctr"/>
          <a:lstStyle/>
          <a:p>
            <a:pPr algn="ctr" defTabSz="53340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dirty="0"/>
              <a:t>Decreased Lifetime Earnings</a:t>
            </a:r>
          </a:p>
        </p:txBody>
      </p:sp>
      <p:sp>
        <p:nvSpPr>
          <p:cNvPr id="29" name="Hexagon 28">
            <a:extLst>
              <a:ext uri="{FF2B5EF4-FFF2-40B4-BE49-F238E27FC236}">
                <a16:creationId xmlns:a16="http://schemas.microsoft.com/office/drawing/2014/main" id="{A1FB9BA8-594C-45CD-B9B2-322CF336E6C5}"/>
              </a:ext>
            </a:extLst>
          </p:cNvPr>
          <p:cNvSpPr/>
          <p:nvPr/>
        </p:nvSpPr>
        <p:spPr>
          <a:xfrm>
            <a:off x="5866109" y="5162907"/>
            <a:ext cx="555784" cy="478882"/>
          </a:xfrm>
          <a:prstGeom prst="hexagon">
            <a:avLst>
              <a:gd name="adj" fmla="val 28900"/>
              <a:gd name="vf" fmla="val 115470"/>
            </a:avLst>
          </a:prstGeom>
          <a:noFill/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4AB6F5D4-3DFA-40E7-823C-42DACD1A92E7}"/>
              </a:ext>
            </a:extLst>
          </p:cNvPr>
          <p:cNvSpPr/>
          <p:nvPr/>
        </p:nvSpPr>
        <p:spPr>
          <a:xfrm>
            <a:off x="5999059" y="5151051"/>
            <a:ext cx="1207170" cy="1044344"/>
          </a:xfrm>
          <a:custGeom>
            <a:avLst/>
            <a:gdLst>
              <a:gd name="connsiteX0" fmla="*/ 0 w 1207170"/>
              <a:gd name="connsiteY0" fmla="*/ 522172 h 1044344"/>
              <a:gd name="connsiteX1" fmla="*/ 298369 w 1207170"/>
              <a:gd name="connsiteY1" fmla="*/ 0 h 1044344"/>
              <a:gd name="connsiteX2" fmla="*/ 908801 w 1207170"/>
              <a:gd name="connsiteY2" fmla="*/ 0 h 1044344"/>
              <a:gd name="connsiteX3" fmla="*/ 1207170 w 1207170"/>
              <a:gd name="connsiteY3" fmla="*/ 522172 h 1044344"/>
              <a:gd name="connsiteX4" fmla="*/ 908801 w 1207170"/>
              <a:gd name="connsiteY4" fmla="*/ 1044344 h 1044344"/>
              <a:gd name="connsiteX5" fmla="*/ 298369 w 1207170"/>
              <a:gd name="connsiteY5" fmla="*/ 1044344 h 1044344"/>
              <a:gd name="connsiteX6" fmla="*/ 0 w 1207170"/>
              <a:gd name="connsiteY6" fmla="*/ 522172 h 104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170" h="1044344">
                <a:moveTo>
                  <a:pt x="0" y="522172"/>
                </a:moveTo>
                <a:lnTo>
                  <a:pt x="298369" y="0"/>
                </a:lnTo>
                <a:lnTo>
                  <a:pt x="908801" y="0"/>
                </a:lnTo>
                <a:lnTo>
                  <a:pt x="1207170" y="522172"/>
                </a:lnTo>
                <a:lnTo>
                  <a:pt x="908801" y="1044344"/>
                </a:lnTo>
                <a:lnTo>
                  <a:pt x="298369" y="1044344"/>
                </a:lnTo>
                <a:lnTo>
                  <a:pt x="0" y="522172"/>
                </a:lnTo>
                <a:close/>
              </a:path>
            </a:pathLst>
          </a:custGeom>
          <a:solidFill>
            <a:srgbClr val="C0000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15294" tIns="188310" rIns="215294" bIns="188310" spcCol="1270" anchor="ctr"/>
          <a:lstStyle/>
          <a:p>
            <a:pPr algn="ctr" defTabSz="53340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dirty="0"/>
              <a:t>Financial Drain on Family</a:t>
            </a:r>
          </a:p>
        </p:txBody>
      </p:sp>
      <p:sp>
        <p:nvSpPr>
          <p:cNvPr id="31" name="Hexagon 30">
            <a:extLst>
              <a:ext uri="{FF2B5EF4-FFF2-40B4-BE49-F238E27FC236}">
                <a16:creationId xmlns:a16="http://schemas.microsoft.com/office/drawing/2014/main" id="{65659E33-234E-4085-986F-199A5B4FCFE0}"/>
              </a:ext>
            </a:extLst>
          </p:cNvPr>
          <p:cNvSpPr/>
          <p:nvPr/>
        </p:nvSpPr>
        <p:spPr>
          <a:xfrm>
            <a:off x="5206843" y="4268011"/>
            <a:ext cx="555784" cy="478882"/>
          </a:xfrm>
          <a:prstGeom prst="hexagon">
            <a:avLst>
              <a:gd name="adj" fmla="val 28900"/>
              <a:gd name="vf" fmla="val 115470"/>
            </a:avLst>
          </a:prstGeom>
          <a:noFill/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6BFF3CBF-A4A6-4B7F-A402-BACD11409800}"/>
              </a:ext>
            </a:extLst>
          </p:cNvPr>
          <p:cNvSpPr/>
          <p:nvPr/>
        </p:nvSpPr>
        <p:spPr>
          <a:xfrm>
            <a:off x="4886804" y="4508710"/>
            <a:ext cx="1207170" cy="1044344"/>
          </a:xfrm>
          <a:custGeom>
            <a:avLst/>
            <a:gdLst>
              <a:gd name="connsiteX0" fmla="*/ 0 w 1207170"/>
              <a:gd name="connsiteY0" fmla="*/ 522172 h 1044344"/>
              <a:gd name="connsiteX1" fmla="*/ 298369 w 1207170"/>
              <a:gd name="connsiteY1" fmla="*/ 0 h 1044344"/>
              <a:gd name="connsiteX2" fmla="*/ 908801 w 1207170"/>
              <a:gd name="connsiteY2" fmla="*/ 0 h 1044344"/>
              <a:gd name="connsiteX3" fmla="*/ 1207170 w 1207170"/>
              <a:gd name="connsiteY3" fmla="*/ 522172 h 1044344"/>
              <a:gd name="connsiteX4" fmla="*/ 908801 w 1207170"/>
              <a:gd name="connsiteY4" fmla="*/ 1044344 h 1044344"/>
              <a:gd name="connsiteX5" fmla="*/ 298369 w 1207170"/>
              <a:gd name="connsiteY5" fmla="*/ 1044344 h 1044344"/>
              <a:gd name="connsiteX6" fmla="*/ 0 w 1207170"/>
              <a:gd name="connsiteY6" fmla="*/ 522172 h 104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170" h="1044344">
                <a:moveTo>
                  <a:pt x="0" y="522172"/>
                </a:moveTo>
                <a:lnTo>
                  <a:pt x="298369" y="0"/>
                </a:lnTo>
                <a:lnTo>
                  <a:pt x="908801" y="0"/>
                </a:lnTo>
                <a:lnTo>
                  <a:pt x="1207170" y="522172"/>
                </a:lnTo>
                <a:lnTo>
                  <a:pt x="908801" y="1044344"/>
                </a:lnTo>
                <a:lnTo>
                  <a:pt x="298369" y="1044344"/>
                </a:lnTo>
                <a:lnTo>
                  <a:pt x="0" y="522172"/>
                </a:lnTo>
                <a:close/>
              </a:path>
            </a:pathLst>
          </a:custGeom>
          <a:solidFill>
            <a:srgbClr val="C0000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15294" tIns="188310" rIns="215294" bIns="188310" spcCol="1270" anchor="ctr"/>
          <a:lstStyle/>
          <a:p>
            <a:pPr algn="ctr" defTabSz="53340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dirty="0"/>
              <a:t>Poor School Performance</a:t>
            </a: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AAE4170C-6E7B-4FD1-84AA-D4CCCED3E4CF}"/>
              </a:ext>
            </a:extLst>
          </p:cNvPr>
          <p:cNvSpPr/>
          <p:nvPr/>
        </p:nvSpPr>
        <p:spPr>
          <a:xfrm>
            <a:off x="4886804" y="3243785"/>
            <a:ext cx="1207170" cy="1044344"/>
          </a:xfrm>
          <a:custGeom>
            <a:avLst/>
            <a:gdLst>
              <a:gd name="connsiteX0" fmla="*/ 0 w 1207170"/>
              <a:gd name="connsiteY0" fmla="*/ 522172 h 1044344"/>
              <a:gd name="connsiteX1" fmla="*/ 298369 w 1207170"/>
              <a:gd name="connsiteY1" fmla="*/ 0 h 1044344"/>
              <a:gd name="connsiteX2" fmla="*/ 908801 w 1207170"/>
              <a:gd name="connsiteY2" fmla="*/ 0 h 1044344"/>
              <a:gd name="connsiteX3" fmla="*/ 1207170 w 1207170"/>
              <a:gd name="connsiteY3" fmla="*/ 522172 h 1044344"/>
              <a:gd name="connsiteX4" fmla="*/ 908801 w 1207170"/>
              <a:gd name="connsiteY4" fmla="*/ 1044344 h 1044344"/>
              <a:gd name="connsiteX5" fmla="*/ 298369 w 1207170"/>
              <a:gd name="connsiteY5" fmla="*/ 1044344 h 1044344"/>
              <a:gd name="connsiteX6" fmla="*/ 0 w 1207170"/>
              <a:gd name="connsiteY6" fmla="*/ 522172 h 1044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170" h="1044344">
                <a:moveTo>
                  <a:pt x="0" y="522172"/>
                </a:moveTo>
                <a:lnTo>
                  <a:pt x="298369" y="0"/>
                </a:lnTo>
                <a:lnTo>
                  <a:pt x="908801" y="0"/>
                </a:lnTo>
                <a:lnTo>
                  <a:pt x="1207170" y="522172"/>
                </a:lnTo>
                <a:lnTo>
                  <a:pt x="908801" y="1044344"/>
                </a:lnTo>
                <a:lnTo>
                  <a:pt x="298369" y="1044344"/>
                </a:lnTo>
                <a:lnTo>
                  <a:pt x="0" y="522172"/>
                </a:lnTo>
                <a:close/>
              </a:path>
            </a:pathLst>
          </a:custGeom>
          <a:solidFill>
            <a:srgbClr val="C0000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215294" tIns="188310" rIns="215294" bIns="188310" spcCol="1270" anchor="ctr"/>
          <a:lstStyle/>
          <a:p>
            <a:pPr algn="ctr" defTabSz="53340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dirty="0"/>
              <a:t>Bullied &amp; Ostracized</a:t>
            </a:r>
          </a:p>
        </p:txBody>
      </p:sp>
      <p:sp>
        <p:nvSpPr>
          <p:cNvPr id="34" name="TextBox 7">
            <a:extLst>
              <a:ext uri="{FF2B5EF4-FFF2-40B4-BE49-F238E27FC236}">
                <a16:creationId xmlns:a16="http://schemas.microsoft.com/office/drawing/2014/main" id="{E842CEF8-F02A-4306-975E-3CE6E2A56E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The Devastating Impacts</a:t>
            </a:r>
          </a:p>
        </p:txBody>
      </p:sp>
      <p:pic>
        <p:nvPicPr>
          <p:cNvPr id="44108" name="Picture 34">
            <a:extLst>
              <a:ext uri="{FF2B5EF4-FFF2-40B4-BE49-F238E27FC236}">
                <a16:creationId xmlns:a16="http://schemas.microsoft.com/office/drawing/2014/main" id="{D7485D89-A86F-49C5-866D-4320FAE870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E466BA13-CEC6-4CEF-8803-599E604618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52FD3C1D-63BC-4860-A146-C69E4CF02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74C27D16-2F92-44CF-B183-69C42F2A8A3E}" type="slidenum">
              <a:rPr lang="en-US" sz="950" b="1"/>
              <a:pPr>
                <a:defRPr/>
              </a:pPr>
              <a:t>12</a:t>
            </a:fld>
            <a:endParaRPr lang="en-US" sz="950" b="1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Footer Placeholder 3">
            <a:extLst>
              <a:ext uri="{FF2B5EF4-FFF2-40B4-BE49-F238E27FC236}">
                <a16:creationId xmlns:a16="http://schemas.microsoft.com/office/drawing/2014/main" id="{F1740BB6-51C0-4722-A96D-2AB2C058A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0" y="6489700"/>
            <a:ext cx="5005388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3AED57A-0A3A-43CD-9F4E-1E5F0846D4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Physiology of Enuresis</a:t>
            </a:r>
          </a:p>
        </p:txBody>
      </p:sp>
      <p:pic>
        <p:nvPicPr>
          <p:cNvPr id="46084" name="Picture 8">
            <a:extLst>
              <a:ext uri="{FF2B5EF4-FFF2-40B4-BE49-F238E27FC236}">
                <a16:creationId xmlns:a16="http://schemas.microsoft.com/office/drawing/2014/main" id="{DBAD5F23-E583-419D-B4CB-2925F657D9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6E81C62-0DF5-4E38-9BBD-E83CFEE3E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1B992189-19A3-4E93-95D5-66F9B43E0DFD}" type="slidenum">
              <a:rPr lang="en-US" sz="950" b="1"/>
              <a:pPr>
                <a:defRPr/>
              </a:pPr>
              <a:t>13</a:t>
            </a:fld>
            <a:endParaRPr lang="en-US" sz="950" b="1" dirty="0"/>
          </a:p>
        </p:txBody>
      </p:sp>
      <p:sp>
        <p:nvSpPr>
          <p:cNvPr id="46086" name="TextBox 7">
            <a:extLst>
              <a:ext uri="{FF2B5EF4-FFF2-40B4-BE49-F238E27FC236}">
                <a16:creationId xmlns:a16="http://schemas.microsoft.com/office/drawing/2014/main" id="{5E45286D-ED34-4D52-B445-8779B2C3FD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5913" y="5772150"/>
            <a:ext cx="629443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lvl="1" eaLnBrk="1" hangingPunct="1">
              <a:spcAft>
                <a:spcPts val="900"/>
              </a:spcAft>
            </a:pPr>
            <a:r>
              <a:rPr lang="en-US" altLang="en-US" b="1">
                <a:solidFill>
                  <a:srgbClr val="2F5DC3"/>
                </a:solidFill>
                <a:latin typeface="Tw Cen MT" panose="020B0602020104020603" pitchFamily="34" charset="0"/>
              </a:rPr>
              <a:t>Maturation delay in neurological “brain to bladder” pathway</a:t>
            </a:r>
          </a:p>
        </p:txBody>
      </p:sp>
      <p:grpSp>
        <p:nvGrpSpPr>
          <p:cNvPr id="46087" name="Group 9">
            <a:extLst>
              <a:ext uri="{FF2B5EF4-FFF2-40B4-BE49-F238E27FC236}">
                <a16:creationId xmlns:a16="http://schemas.microsoft.com/office/drawing/2014/main" id="{A7EAC22A-59B8-4B39-A9C7-15681EDE8191}"/>
              </a:ext>
            </a:extLst>
          </p:cNvPr>
          <p:cNvGrpSpPr>
            <a:grpSpLocks/>
          </p:cNvGrpSpPr>
          <p:nvPr/>
        </p:nvGrpSpPr>
        <p:grpSpPr bwMode="auto">
          <a:xfrm>
            <a:off x="3475038" y="1412875"/>
            <a:ext cx="1965325" cy="3805238"/>
            <a:chOff x="2884488" y="19050"/>
            <a:chExt cx="3375025" cy="6864350"/>
          </a:xfrm>
        </p:grpSpPr>
        <p:pic>
          <p:nvPicPr>
            <p:cNvPr id="46100" name="Picture 2" descr="Siemens whole neuraxis">
              <a:extLst>
                <a:ext uri="{FF2B5EF4-FFF2-40B4-BE49-F238E27FC236}">
                  <a16:creationId xmlns:a16="http://schemas.microsoft.com/office/drawing/2014/main" id="{2C92C1FC-156B-4A62-AFB1-421E5BC743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596" r="24924"/>
            <a:stretch>
              <a:fillRect/>
            </a:stretch>
          </p:blipFill>
          <p:spPr bwMode="auto">
            <a:xfrm>
              <a:off x="2884488" y="19050"/>
              <a:ext cx="3375025" cy="6864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6101" name="AutoShape 3">
              <a:extLst>
                <a:ext uri="{FF2B5EF4-FFF2-40B4-BE49-F238E27FC236}">
                  <a16:creationId xmlns:a16="http://schemas.microsoft.com/office/drawing/2014/main" id="{E17FC49E-2661-4CB7-9298-7055CAF0B45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>
              <a:off x="4872038" y="3860800"/>
              <a:ext cx="42862" cy="1050925"/>
            </a:xfrm>
            <a:prstGeom prst="triangle">
              <a:avLst>
                <a:gd name="adj" fmla="val 0"/>
              </a:avLst>
            </a:prstGeom>
            <a:solidFill>
              <a:srgbClr val="FF0000"/>
            </a:solidFill>
            <a:ln w="6350">
              <a:solidFill>
                <a:srgbClr val="FF0000"/>
              </a:solidFill>
              <a:prstDash val="lgDash"/>
              <a:miter lim="800000"/>
              <a:headEnd/>
              <a:tailEnd/>
            </a:ln>
          </p:spPr>
          <p:txBody>
            <a:bodyPr wrap="none" anchor="ctr"/>
            <a:lstStyle>
              <a:lvl1pPr defTabSz="912813">
                <a:lnSpc>
                  <a:spcPct val="120000"/>
                </a:lnSpc>
                <a:spcBef>
                  <a:spcPts val="10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Tw Cen MT" panose="020B0602020104020603" pitchFamily="34" charset="0"/>
                </a:defRPr>
              </a:lvl1pPr>
              <a:lvl2pPr marL="742950" indent="-285750" defTabSz="912813">
                <a:lnSpc>
                  <a:spcPct val="120000"/>
                </a:lnSpc>
                <a:spcBef>
                  <a:spcPts val="5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Tw Cen MT" panose="020B0602020104020603" pitchFamily="34" charset="0"/>
                </a:defRPr>
              </a:lvl2pPr>
              <a:lvl3pPr marL="1143000" indent="-228600" defTabSz="912813">
                <a:lnSpc>
                  <a:spcPct val="120000"/>
                </a:lnSpc>
                <a:spcBef>
                  <a:spcPts val="5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600">
                  <a:solidFill>
                    <a:schemeClr val="tx1"/>
                  </a:solidFill>
                  <a:latin typeface="Tw Cen MT" panose="020B0602020104020603" pitchFamily="34" charset="0"/>
                </a:defRPr>
              </a:lvl3pPr>
              <a:lvl4pPr marL="1600200" indent="-228600" defTabSz="912813">
                <a:lnSpc>
                  <a:spcPct val="120000"/>
                </a:lnSpc>
                <a:spcBef>
                  <a:spcPts val="5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Tw Cen MT" panose="020B0602020104020603" pitchFamily="34" charset="0"/>
                </a:defRPr>
              </a:lvl4pPr>
              <a:lvl5pPr marL="2057400" indent="-228600" defTabSz="912813">
                <a:lnSpc>
                  <a:spcPct val="120000"/>
                </a:lnSpc>
                <a:spcBef>
                  <a:spcPts val="50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Tw Cen MT" panose="020B0602020104020603" pitchFamily="34" charset="0"/>
                </a:defRPr>
              </a:lvl5pPr>
              <a:lvl6pPr marL="2514600" indent="-228600" defTabSz="912813" fontAlgn="base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Tw Cen MT" panose="020B0602020104020603" pitchFamily="34" charset="0"/>
                </a:defRPr>
              </a:lvl6pPr>
              <a:lvl7pPr marL="2971800" indent="-228600" defTabSz="912813" fontAlgn="base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Tw Cen MT" panose="020B0602020104020603" pitchFamily="34" charset="0"/>
                </a:defRPr>
              </a:lvl7pPr>
              <a:lvl8pPr marL="3429000" indent="-228600" defTabSz="912813" fontAlgn="base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Tw Cen MT" panose="020B0602020104020603" pitchFamily="34" charset="0"/>
                </a:defRPr>
              </a:lvl8pPr>
              <a:lvl9pPr marL="3886200" indent="-228600" defTabSz="912813" fontAlgn="base">
                <a:lnSpc>
                  <a:spcPct val="120000"/>
                </a:lnSpc>
                <a:spcBef>
                  <a:spcPts val="5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Tw Cen MT" panose="020B0602020104020603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US" altLang="en-US" sz="180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102" name="Freeform 5">
              <a:extLst>
                <a:ext uri="{FF2B5EF4-FFF2-40B4-BE49-F238E27FC236}">
                  <a16:creationId xmlns:a16="http://schemas.microsoft.com/office/drawing/2014/main" id="{5A2E74EC-8DF8-43AD-91E2-D84EDA425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8663" y="4251325"/>
              <a:ext cx="585787" cy="2524125"/>
            </a:xfrm>
            <a:custGeom>
              <a:avLst/>
              <a:gdLst>
                <a:gd name="T0" fmla="*/ 2147483646 w 369"/>
                <a:gd name="T1" fmla="*/ 0 h 1554"/>
                <a:gd name="T2" fmla="*/ 2147483646 w 369"/>
                <a:gd name="T3" fmla="*/ 2147483646 h 1554"/>
                <a:gd name="T4" fmla="*/ 2147483646 w 369"/>
                <a:gd name="T5" fmla="*/ 2147483646 h 1554"/>
                <a:gd name="T6" fmla="*/ 2147483646 w 369"/>
                <a:gd name="T7" fmla="*/ 2147483646 h 1554"/>
                <a:gd name="T8" fmla="*/ 2147483646 w 369"/>
                <a:gd name="T9" fmla="*/ 2147483646 h 1554"/>
                <a:gd name="T10" fmla="*/ 2147483646 w 369"/>
                <a:gd name="T11" fmla="*/ 2147483646 h 1554"/>
                <a:gd name="T12" fmla="*/ 2147483646 w 369"/>
                <a:gd name="T13" fmla="*/ 2147483646 h 1554"/>
                <a:gd name="T14" fmla="*/ 2147483646 w 369"/>
                <a:gd name="T15" fmla="*/ 2147483646 h 1554"/>
                <a:gd name="T16" fmla="*/ 2147483646 w 369"/>
                <a:gd name="T17" fmla="*/ 2147483646 h 1554"/>
                <a:gd name="T18" fmla="*/ 0 w 369"/>
                <a:gd name="T19" fmla="*/ 2147483646 h 155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9"/>
                <a:gd name="T31" fmla="*/ 0 h 1554"/>
                <a:gd name="T32" fmla="*/ 369 w 369"/>
                <a:gd name="T33" fmla="*/ 1554 h 155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9" h="1554">
                  <a:moveTo>
                    <a:pt x="222" y="0"/>
                  </a:moveTo>
                  <a:cubicBezTo>
                    <a:pt x="208" y="120"/>
                    <a:pt x="195" y="240"/>
                    <a:pt x="186" y="342"/>
                  </a:cubicBezTo>
                  <a:cubicBezTo>
                    <a:pt x="177" y="444"/>
                    <a:pt x="172" y="542"/>
                    <a:pt x="168" y="612"/>
                  </a:cubicBezTo>
                  <a:cubicBezTo>
                    <a:pt x="164" y="682"/>
                    <a:pt x="152" y="710"/>
                    <a:pt x="162" y="762"/>
                  </a:cubicBezTo>
                  <a:cubicBezTo>
                    <a:pt x="172" y="814"/>
                    <a:pt x="202" y="872"/>
                    <a:pt x="228" y="924"/>
                  </a:cubicBezTo>
                  <a:cubicBezTo>
                    <a:pt x="254" y="976"/>
                    <a:pt x="300" y="1027"/>
                    <a:pt x="318" y="1074"/>
                  </a:cubicBezTo>
                  <a:cubicBezTo>
                    <a:pt x="336" y="1121"/>
                    <a:pt x="369" y="1168"/>
                    <a:pt x="336" y="1206"/>
                  </a:cubicBezTo>
                  <a:cubicBezTo>
                    <a:pt x="303" y="1244"/>
                    <a:pt x="166" y="1255"/>
                    <a:pt x="120" y="1302"/>
                  </a:cubicBezTo>
                  <a:cubicBezTo>
                    <a:pt x="74" y="1349"/>
                    <a:pt x="80" y="1446"/>
                    <a:pt x="60" y="1488"/>
                  </a:cubicBezTo>
                  <a:cubicBezTo>
                    <a:pt x="40" y="1530"/>
                    <a:pt x="9" y="1542"/>
                    <a:pt x="0" y="1554"/>
                  </a:cubicBezTo>
                </a:path>
              </a:pathLst>
            </a:custGeom>
            <a:noFill/>
            <a:ln w="95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103" name="Freeform 6">
              <a:extLst>
                <a:ext uri="{FF2B5EF4-FFF2-40B4-BE49-F238E27FC236}">
                  <a16:creationId xmlns:a16="http://schemas.microsoft.com/office/drawing/2014/main" id="{A94562E3-BFA0-4153-8E76-244469EDA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088" y="1109663"/>
              <a:ext cx="401637" cy="2786062"/>
            </a:xfrm>
            <a:custGeom>
              <a:avLst/>
              <a:gdLst>
                <a:gd name="T0" fmla="*/ 0 w 253"/>
                <a:gd name="T1" fmla="*/ 0 h 1755"/>
                <a:gd name="T2" fmla="*/ 2147483646 w 253"/>
                <a:gd name="T3" fmla="*/ 2147483646 h 1755"/>
                <a:gd name="T4" fmla="*/ 2147483646 w 253"/>
                <a:gd name="T5" fmla="*/ 2147483646 h 1755"/>
                <a:gd name="T6" fmla="*/ 2147483646 w 253"/>
                <a:gd name="T7" fmla="*/ 2147483646 h 1755"/>
                <a:gd name="T8" fmla="*/ 2147483646 w 253"/>
                <a:gd name="T9" fmla="*/ 2147483646 h 1755"/>
                <a:gd name="T10" fmla="*/ 2147483646 w 253"/>
                <a:gd name="T11" fmla="*/ 2147483646 h 1755"/>
                <a:gd name="T12" fmla="*/ 2147483646 w 253"/>
                <a:gd name="T13" fmla="*/ 2147483646 h 1755"/>
                <a:gd name="T14" fmla="*/ 2147483646 w 253"/>
                <a:gd name="T15" fmla="*/ 2147483646 h 1755"/>
                <a:gd name="T16" fmla="*/ 2147483646 w 253"/>
                <a:gd name="T17" fmla="*/ 2147483646 h 1755"/>
                <a:gd name="T18" fmla="*/ 2147483646 w 253"/>
                <a:gd name="T19" fmla="*/ 2147483646 h 1755"/>
                <a:gd name="T20" fmla="*/ 2147483646 w 253"/>
                <a:gd name="T21" fmla="*/ 2147483646 h 1755"/>
                <a:gd name="T22" fmla="*/ 2147483646 w 253"/>
                <a:gd name="T23" fmla="*/ 2147483646 h 1755"/>
                <a:gd name="T24" fmla="*/ 2147483646 w 253"/>
                <a:gd name="T25" fmla="*/ 2147483646 h 1755"/>
                <a:gd name="T26" fmla="*/ 2147483646 w 253"/>
                <a:gd name="T27" fmla="*/ 2147483646 h 1755"/>
                <a:gd name="T28" fmla="*/ 2147483646 w 253"/>
                <a:gd name="T29" fmla="*/ 2147483646 h 17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3"/>
                <a:gd name="T46" fmla="*/ 0 h 1755"/>
                <a:gd name="T47" fmla="*/ 253 w 253"/>
                <a:gd name="T48" fmla="*/ 1755 h 175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3" h="1755">
                  <a:moveTo>
                    <a:pt x="0" y="0"/>
                  </a:moveTo>
                  <a:cubicBezTo>
                    <a:pt x="2" y="31"/>
                    <a:pt x="14" y="126"/>
                    <a:pt x="15" y="189"/>
                  </a:cubicBezTo>
                  <a:cubicBezTo>
                    <a:pt x="16" y="252"/>
                    <a:pt x="8" y="331"/>
                    <a:pt x="6" y="381"/>
                  </a:cubicBezTo>
                  <a:cubicBezTo>
                    <a:pt x="4" y="431"/>
                    <a:pt x="1" y="451"/>
                    <a:pt x="3" y="489"/>
                  </a:cubicBezTo>
                  <a:cubicBezTo>
                    <a:pt x="5" y="527"/>
                    <a:pt x="9" y="572"/>
                    <a:pt x="18" y="609"/>
                  </a:cubicBezTo>
                  <a:cubicBezTo>
                    <a:pt x="26" y="641"/>
                    <a:pt x="41" y="680"/>
                    <a:pt x="57" y="714"/>
                  </a:cubicBezTo>
                  <a:cubicBezTo>
                    <a:pt x="73" y="748"/>
                    <a:pt x="94" y="779"/>
                    <a:pt x="114" y="814"/>
                  </a:cubicBezTo>
                  <a:cubicBezTo>
                    <a:pt x="134" y="849"/>
                    <a:pt x="160" y="886"/>
                    <a:pt x="178" y="924"/>
                  </a:cubicBezTo>
                  <a:cubicBezTo>
                    <a:pt x="196" y="962"/>
                    <a:pt x="211" y="1001"/>
                    <a:pt x="222" y="1042"/>
                  </a:cubicBezTo>
                  <a:cubicBezTo>
                    <a:pt x="233" y="1083"/>
                    <a:pt x="238" y="1123"/>
                    <a:pt x="243" y="1173"/>
                  </a:cubicBezTo>
                  <a:cubicBezTo>
                    <a:pt x="248" y="1223"/>
                    <a:pt x="251" y="1294"/>
                    <a:pt x="252" y="1341"/>
                  </a:cubicBezTo>
                  <a:cubicBezTo>
                    <a:pt x="253" y="1388"/>
                    <a:pt x="252" y="1418"/>
                    <a:pt x="252" y="1455"/>
                  </a:cubicBezTo>
                  <a:cubicBezTo>
                    <a:pt x="252" y="1492"/>
                    <a:pt x="250" y="1532"/>
                    <a:pt x="249" y="1566"/>
                  </a:cubicBezTo>
                  <a:cubicBezTo>
                    <a:pt x="248" y="1600"/>
                    <a:pt x="244" y="1631"/>
                    <a:pt x="243" y="1662"/>
                  </a:cubicBezTo>
                  <a:cubicBezTo>
                    <a:pt x="242" y="1693"/>
                    <a:pt x="243" y="1736"/>
                    <a:pt x="243" y="1755"/>
                  </a:cubicBezTo>
                </a:path>
              </a:pathLst>
            </a:custGeom>
            <a:noFill/>
            <a:ln w="3810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6104" name="Freeform 16">
              <a:extLst>
                <a:ext uri="{FF2B5EF4-FFF2-40B4-BE49-F238E27FC236}">
                  <a16:creationId xmlns:a16="http://schemas.microsoft.com/office/drawing/2014/main" id="{F6F5DE5C-5C65-42A1-9EA6-F0E67524F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2900" y="6276975"/>
              <a:ext cx="471488" cy="457200"/>
            </a:xfrm>
            <a:custGeom>
              <a:avLst/>
              <a:gdLst>
                <a:gd name="T0" fmla="*/ 2147483646 w 297"/>
                <a:gd name="T1" fmla="*/ 2147483646 h 288"/>
                <a:gd name="T2" fmla="*/ 2147483646 w 297"/>
                <a:gd name="T3" fmla="*/ 2147483646 h 288"/>
                <a:gd name="T4" fmla="*/ 0 w 297"/>
                <a:gd name="T5" fmla="*/ 2147483646 h 288"/>
                <a:gd name="T6" fmla="*/ 0 w 297"/>
                <a:gd name="T7" fmla="*/ 2147483646 h 288"/>
                <a:gd name="T8" fmla="*/ 2147483646 w 297"/>
                <a:gd name="T9" fmla="*/ 2147483646 h 288"/>
                <a:gd name="T10" fmla="*/ 2147483646 w 297"/>
                <a:gd name="T11" fmla="*/ 2147483646 h 288"/>
                <a:gd name="T12" fmla="*/ 2147483646 w 297"/>
                <a:gd name="T13" fmla="*/ 2147483646 h 288"/>
                <a:gd name="T14" fmla="*/ 2147483646 w 297"/>
                <a:gd name="T15" fmla="*/ 0 h 288"/>
                <a:gd name="T16" fmla="*/ 2147483646 w 297"/>
                <a:gd name="T17" fmla="*/ 2147483646 h 288"/>
                <a:gd name="T18" fmla="*/ 2147483646 w 297"/>
                <a:gd name="T19" fmla="*/ 2147483646 h 288"/>
                <a:gd name="T20" fmla="*/ 2147483646 w 297"/>
                <a:gd name="T21" fmla="*/ 2147483646 h 288"/>
                <a:gd name="T22" fmla="*/ 2147483646 w 297"/>
                <a:gd name="T23" fmla="*/ 2147483646 h 288"/>
                <a:gd name="T24" fmla="*/ 2147483646 w 297"/>
                <a:gd name="T25" fmla="*/ 2147483646 h 288"/>
                <a:gd name="T26" fmla="*/ 2147483646 w 297"/>
                <a:gd name="T27" fmla="*/ 2147483646 h 288"/>
                <a:gd name="T28" fmla="*/ 2147483646 w 297"/>
                <a:gd name="T29" fmla="*/ 2147483646 h 288"/>
                <a:gd name="T30" fmla="*/ 2147483646 w 297"/>
                <a:gd name="T31" fmla="*/ 2147483646 h 288"/>
                <a:gd name="T32" fmla="*/ 2147483646 w 297"/>
                <a:gd name="T33" fmla="*/ 2147483646 h 288"/>
                <a:gd name="T34" fmla="*/ 2147483646 w 297"/>
                <a:gd name="T35" fmla="*/ 2147483646 h 288"/>
                <a:gd name="T36" fmla="*/ 2147483646 w 297"/>
                <a:gd name="T37" fmla="*/ 2147483646 h 288"/>
                <a:gd name="T38" fmla="*/ 2147483646 w 297"/>
                <a:gd name="T39" fmla="*/ 2147483646 h 288"/>
                <a:gd name="T40" fmla="*/ 2147483646 w 297"/>
                <a:gd name="T41" fmla="*/ 2147483646 h 28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97"/>
                <a:gd name="T64" fmla="*/ 0 h 288"/>
                <a:gd name="T65" fmla="*/ 297 w 297"/>
                <a:gd name="T66" fmla="*/ 288 h 28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97" h="288">
                  <a:moveTo>
                    <a:pt x="69" y="282"/>
                  </a:moveTo>
                  <a:lnTo>
                    <a:pt x="27" y="261"/>
                  </a:lnTo>
                  <a:lnTo>
                    <a:pt x="0" y="222"/>
                  </a:lnTo>
                  <a:lnTo>
                    <a:pt x="0" y="162"/>
                  </a:lnTo>
                  <a:lnTo>
                    <a:pt x="15" y="111"/>
                  </a:lnTo>
                  <a:lnTo>
                    <a:pt x="33" y="51"/>
                  </a:lnTo>
                  <a:lnTo>
                    <a:pt x="51" y="3"/>
                  </a:lnTo>
                  <a:lnTo>
                    <a:pt x="120" y="0"/>
                  </a:lnTo>
                  <a:lnTo>
                    <a:pt x="159" y="30"/>
                  </a:lnTo>
                  <a:lnTo>
                    <a:pt x="186" y="63"/>
                  </a:lnTo>
                  <a:lnTo>
                    <a:pt x="249" y="81"/>
                  </a:lnTo>
                  <a:lnTo>
                    <a:pt x="285" y="105"/>
                  </a:lnTo>
                  <a:lnTo>
                    <a:pt x="294" y="138"/>
                  </a:lnTo>
                  <a:lnTo>
                    <a:pt x="297" y="177"/>
                  </a:lnTo>
                  <a:lnTo>
                    <a:pt x="297" y="225"/>
                  </a:lnTo>
                  <a:lnTo>
                    <a:pt x="276" y="285"/>
                  </a:lnTo>
                  <a:lnTo>
                    <a:pt x="219" y="288"/>
                  </a:lnTo>
                  <a:lnTo>
                    <a:pt x="168" y="285"/>
                  </a:lnTo>
                  <a:lnTo>
                    <a:pt x="132" y="279"/>
                  </a:lnTo>
                  <a:lnTo>
                    <a:pt x="96" y="276"/>
                  </a:lnTo>
                  <a:lnTo>
                    <a:pt x="69" y="282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E37CB6AF-1FC8-4372-A85E-4D0943F19132}"/>
              </a:ext>
            </a:extLst>
          </p:cNvPr>
          <p:cNvSpPr txBox="1"/>
          <p:nvPr/>
        </p:nvSpPr>
        <p:spPr>
          <a:xfrm>
            <a:off x="6292850" y="4583113"/>
            <a:ext cx="1165225" cy="36830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defTabSz="514350" eaLnBrk="1" hangingPunct="1">
              <a:defRPr/>
            </a:pPr>
            <a:r>
              <a:rPr lang="en-US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Bladder</a:t>
            </a:r>
          </a:p>
        </p:txBody>
      </p:sp>
      <p:grpSp>
        <p:nvGrpSpPr>
          <p:cNvPr id="46089" name="Group 18">
            <a:extLst>
              <a:ext uri="{FF2B5EF4-FFF2-40B4-BE49-F238E27FC236}">
                <a16:creationId xmlns:a16="http://schemas.microsoft.com/office/drawing/2014/main" id="{8661DD16-FB8B-4B52-8FB7-ADDBAB3C660D}"/>
              </a:ext>
            </a:extLst>
          </p:cNvPr>
          <p:cNvGrpSpPr>
            <a:grpSpLocks/>
          </p:cNvGrpSpPr>
          <p:nvPr/>
        </p:nvGrpSpPr>
        <p:grpSpPr bwMode="auto">
          <a:xfrm>
            <a:off x="1130300" y="2127250"/>
            <a:ext cx="1687513" cy="2127250"/>
            <a:chOff x="1009602" y="1369717"/>
            <a:chExt cx="2248467" cy="1895602"/>
          </a:xfrm>
        </p:grpSpPr>
        <p:sp>
          <p:nvSpPr>
            <p:cNvPr id="46097" name="TextBox 19">
              <a:extLst>
                <a:ext uri="{FF2B5EF4-FFF2-40B4-BE49-F238E27FC236}">
                  <a16:creationId xmlns:a16="http://schemas.microsoft.com/office/drawing/2014/main" id="{28955E5B-0AC3-4EB6-AAB2-8EAE1EDC9B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09602" y="1369717"/>
              <a:ext cx="2248467" cy="1231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b="1"/>
                <a:t>Central </a:t>
              </a:r>
            </a:p>
            <a:p>
              <a:pPr algn="ctr" eaLnBrk="1" hangingPunct="1"/>
              <a:r>
                <a:rPr lang="en-US" altLang="en-US" b="1"/>
                <a:t>Nervous System</a:t>
              </a:r>
            </a:p>
          </p:txBody>
        </p:sp>
        <p:sp>
          <p:nvSpPr>
            <p:cNvPr id="46098" name="TextBox 20">
              <a:extLst>
                <a:ext uri="{FF2B5EF4-FFF2-40B4-BE49-F238E27FC236}">
                  <a16:creationId xmlns:a16="http://schemas.microsoft.com/office/drawing/2014/main" id="{87F6F01F-C3C5-4921-BC5B-E37556913B2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9290" y="2218879"/>
              <a:ext cx="1819796" cy="1046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500" b="1"/>
                <a:t>Bladder full signal not recognized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6BF2E24-6E42-4252-B08C-EDC03D563BE7}"/>
                </a:ext>
              </a:extLst>
            </p:cNvPr>
            <p:cNvCxnSpPr/>
            <p:nvPr/>
          </p:nvCxnSpPr>
          <p:spPr>
            <a:xfrm>
              <a:off x="1415722" y="2200104"/>
              <a:ext cx="1391807" cy="0"/>
            </a:xfrm>
            <a:prstGeom prst="line">
              <a:avLst/>
            </a:prstGeom>
            <a:ln w="222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090" name="Group 22">
            <a:extLst>
              <a:ext uri="{FF2B5EF4-FFF2-40B4-BE49-F238E27FC236}">
                <a16:creationId xmlns:a16="http://schemas.microsoft.com/office/drawing/2014/main" id="{3F69043B-F778-4DBA-8666-985972B54488}"/>
              </a:ext>
            </a:extLst>
          </p:cNvPr>
          <p:cNvGrpSpPr>
            <a:grpSpLocks/>
          </p:cNvGrpSpPr>
          <p:nvPr/>
        </p:nvGrpSpPr>
        <p:grpSpPr bwMode="auto">
          <a:xfrm>
            <a:off x="5943600" y="2136775"/>
            <a:ext cx="2043113" cy="1776413"/>
            <a:chOff x="5822452" y="1363753"/>
            <a:chExt cx="2723743" cy="1490613"/>
          </a:xfrm>
        </p:grpSpPr>
        <p:sp>
          <p:nvSpPr>
            <p:cNvPr id="46094" name="TextBox 23">
              <a:extLst>
                <a:ext uri="{FF2B5EF4-FFF2-40B4-BE49-F238E27FC236}">
                  <a16:creationId xmlns:a16="http://schemas.microsoft.com/office/drawing/2014/main" id="{170BE4B0-D309-4A78-AE5D-C472E20C09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78013" y="1363753"/>
              <a:ext cx="2327266" cy="1231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b="1"/>
                <a:t>Autonomic Nervous System</a:t>
              </a:r>
            </a:p>
          </p:txBody>
        </p:sp>
        <p:sp>
          <p:nvSpPr>
            <p:cNvPr id="46095" name="TextBox 24">
              <a:extLst>
                <a:ext uri="{FF2B5EF4-FFF2-40B4-BE49-F238E27FC236}">
                  <a16:creationId xmlns:a16="http://schemas.microsoft.com/office/drawing/2014/main" id="{18F7AC73-E25B-4209-9777-6735D430930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22452" y="2195660"/>
              <a:ext cx="2723743" cy="6587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500" b="1"/>
                <a:t>Increased heart rate, blood pressure &amp; perspiration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7B674F1-A189-414D-B1E3-3918409B1A99}"/>
                </a:ext>
              </a:extLst>
            </p:cNvPr>
            <p:cNvCxnSpPr/>
            <p:nvPr/>
          </p:nvCxnSpPr>
          <p:spPr>
            <a:xfrm>
              <a:off x="6417147" y="2194979"/>
              <a:ext cx="1534353" cy="0"/>
            </a:xfrm>
            <a:prstGeom prst="line">
              <a:avLst/>
            </a:prstGeom>
            <a:ln w="222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6ABB56E-2225-4B39-AC11-0D8CC06EFF8C}"/>
              </a:ext>
            </a:extLst>
          </p:cNvPr>
          <p:cNvCxnSpPr>
            <a:cxnSpLocks/>
            <a:stCxn id="18" idx="1"/>
          </p:cNvCxnSpPr>
          <p:nvPr/>
        </p:nvCxnSpPr>
        <p:spPr>
          <a:xfrm flipH="1">
            <a:off x="4283075" y="4767263"/>
            <a:ext cx="2009775" cy="180975"/>
          </a:xfrm>
          <a:prstGeom prst="straightConnector1">
            <a:avLst/>
          </a:prstGeom>
          <a:ln w="22225">
            <a:solidFill>
              <a:srgbClr val="31E80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F197CDA3-7C12-4011-B6B3-98D19CD99F39}"/>
              </a:ext>
            </a:extLst>
          </p:cNvPr>
          <p:cNvCxnSpPr>
            <a:cxnSpLocks/>
          </p:cNvCxnSpPr>
          <p:nvPr/>
        </p:nvCxnSpPr>
        <p:spPr>
          <a:xfrm flipV="1">
            <a:off x="2622550" y="2105025"/>
            <a:ext cx="1579563" cy="942975"/>
          </a:xfrm>
          <a:prstGeom prst="straightConnector1">
            <a:avLst/>
          </a:prstGeom>
          <a:ln w="22225">
            <a:solidFill>
              <a:srgbClr val="31E80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F6C7E97-9586-4279-8215-4BEBE5C6F250}"/>
              </a:ext>
            </a:extLst>
          </p:cNvPr>
          <p:cNvCxnSpPr>
            <a:cxnSpLocks/>
          </p:cNvCxnSpPr>
          <p:nvPr/>
        </p:nvCxnSpPr>
        <p:spPr>
          <a:xfrm flipH="1">
            <a:off x="4491038" y="3224213"/>
            <a:ext cx="1592262" cy="1171575"/>
          </a:xfrm>
          <a:prstGeom prst="straightConnector1">
            <a:avLst/>
          </a:prstGeom>
          <a:ln w="22225">
            <a:solidFill>
              <a:srgbClr val="31E80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Footer Placeholder 3">
            <a:extLst>
              <a:ext uri="{FF2B5EF4-FFF2-40B4-BE49-F238E27FC236}">
                <a16:creationId xmlns:a16="http://schemas.microsoft.com/office/drawing/2014/main" id="{534A0A0B-92E9-4B03-A195-C66D1C394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0" y="6489700"/>
            <a:ext cx="5005388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D65D1E-2F8C-4C47-89C2-D568CB7A07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Current Treatment Options</a:t>
            </a:r>
          </a:p>
        </p:txBody>
      </p:sp>
      <p:pic>
        <p:nvPicPr>
          <p:cNvPr id="48132" name="Picture 8">
            <a:extLst>
              <a:ext uri="{FF2B5EF4-FFF2-40B4-BE49-F238E27FC236}">
                <a16:creationId xmlns:a16="http://schemas.microsoft.com/office/drawing/2014/main" id="{26EAA326-AB60-4628-A157-B55E3F346F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0CA29A3-7B0D-45C0-9256-40CDAE072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DAB579D2-4FF9-4D59-88E6-5FA926BF52B4}" type="slidenum">
              <a:rPr lang="en-US" sz="950" b="1"/>
              <a:pPr>
                <a:defRPr/>
              </a:pPr>
              <a:t>14</a:t>
            </a:fld>
            <a:endParaRPr lang="en-US" sz="95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292487-F243-40F7-9132-55EB941D6AE7}"/>
              </a:ext>
            </a:extLst>
          </p:cNvPr>
          <p:cNvSpPr txBox="1"/>
          <p:nvPr/>
        </p:nvSpPr>
        <p:spPr>
          <a:xfrm>
            <a:off x="908050" y="5316538"/>
            <a:ext cx="3214688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Only masks the problem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A16134D-547D-4D31-8C98-169C1AF7D80E}"/>
              </a:ext>
            </a:extLst>
          </p:cNvPr>
          <p:cNvSpPr/>
          <p:nvPr/>
        </p:nvSpPr>
        <p:spPr>
          <a:xfrm>
            <a:off x="6959302" y="1934101"/>
            <a:ext cx="1415777" cy="928739"/>
          </a:xfrm>
          <a:prstGeom prst="roundRect">
            <a:avLst/>
          </a:prstGeom>
          <a:solidFill>
            <a:schemeClr val="accent1"/>
          </a:solidFill>
          <a:ln>
            <a:solidFill>
              <a:schemeClr val="tx1">
                <a:lumMod val="85000"/>
                <a:lumOff val="15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linics</a:t>
            </a:r>
          </a:p>
          <a:p>
            <a:pPr algn="ctr" eaLnBrk="1" hangingPunct="1">
              <a:defRPr/>
            </a:pPr>
            <a:r>
              <a:rPr lang="en-US" sz="15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$2000-$5000</a:t>
            </a:r>
          </a:p>
          <a:p>
            <a:pPr algn="ctr" eaLnBrk="1" hangingPunct="1">
              <a:defRPr/>
            </a:pPr>
            <a:r>
              <a:rPr lang="en-U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x month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93187B2-B8A5-42EB-8F4A-70744FCF2055}"/>
              </a:ext>
            </a:extLst>
          </p:cNvPr>
          <p:cNvSpPr/>
          <p:nvPr/>
        </p:nvSpPr>
        <p:spPr>
          <a:xfrm>
            <a:off x="2915733" y="1907196"/>
            <a:ext cx="1389961" cy="964587"/>
          </a:xfrm>
          <a:prstGeom prst="roundRect">
            <a:avLst/>
          </a:prstGeom>
          <a:solidFill>
            <a:schemeClr val="accent1"/>
          </a:solidFill>
          <a:ln>
            <a:solidFill>
              <a:schemeClr val="tx1">
                <a:lumMod val="85000"/>
                <a:lumOff val="15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apers</a:t>
            </a:r>
          </a:p>
          <a:p>
            <a:pPr algn="ctr" eaLnBrk="1" hangingPunct="1">
              <a:defRPr/>
            </a:pPr>
            <a:r>
              <a:rPr lang="en-US" sz="15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$40 - 60</a:t>
            </a:r>
          </a:p>
          <a:p>
            <a:pPr algn="ctr" eaLnBrk="1" hangingPunct="1">
              <a:defRPr/>
            </a:pPr>
            <a:r>
              <a:rPr lang="en-U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 month</a:t>
            </a:r>
          </a:p>
        </p:txBody>
      </p:sp>
      <p:pic>
        <p:nvPicPr>
          <p:cNvPr id="48141" name="Picture 13">
            <a:extLst>
              <a:ext uri="{FF2B5EF4-FFF2-40B4-BE49-F238E27FC236}">
                <a16:creationId xmlns:a16="http://schemas.microsoft.com/office/drawing/2014/main" id="{0CBD315D-3F67-49B2-9CDD-1D40B5F401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00" y="3213100"/>
            <a:ext cx="2200275" cy="186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2" name="Picture 14">
            <a:extLst>
              <a:ext uri="{FF2B5EF4-FFF2-40B4-BE49-F238E27FC236}">
                <a16:creationId xmlns:a16="http://schemas.microsoft.com/office/drawing/2014/main" id="{6024534A-4B47-488B-AA4C-BE308ACAEB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6088" y="2938463"/>
            <a:ext cx="1173162" cy="1262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3" name="Picture 15">
            <a:extLst>
              <a:ext uri="{FF2B5EF4-FFF2-40B4-BE49-F238E27FC236}">
                <a16:creationId xmlns:a16="http://schemas.microsoft.com/office/drawing/2014/main" id="{EFCA32F0-9035-442E-8550-8D7F8FB45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6088" y="4110038"/>
            <a:ext cx="1111250" cy="1084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A63CE5B-70F5-43DA-8D95-E79524FDB3BE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124777" y="4111935"/>
            <a:ext cx="1015440" cy="976954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4D8DCBD-A34A-4A31-98B8-787A78CF543B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102078" y="3070512"/>
            <a:ext cx="1060838" cy="882388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E92DCC2-8C46-40F6-A051-2ADC44F01FE1}"/>
              </a:ext>
            </a:extLst>
          </p:cNvPr>
          <p:cNvSpPr txBox="1"/>
          <p:nvPr/>
        </p:nvSpPr>
        <p:spPr>
          <a:xfrm>
            <a:off x="4511675" y="5251450"/>
            <a:ext cx="2241550" cy="646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Only 25%</a:t>
            </a:r>
          </a:p>
          <a:p>
            <a:pPr algn="ctr" eaLnBrk="1" hangingPunct="1">
              <a:defRPr/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effectiv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4FBD643-32FD-4A43-8514-CA6FFC117A33}"/>
              </a:ext>
            </a:extLst>
          </p:cNvPr>
          <p:cNvSpPr/>
          <p:nvPr/>
        </p:nvSpPr>
        <p:spPr>
          <a:xfrm>
            <a:off x="4924609" y="1920649"/>
            <a:ext cx="1415777" cy="964587"/>
          </a:xfrm>
          <a:prstGeom prst="roundRect">
            <a:avLst/>
          </a:prstGeom>
          <a:solidFill>
            <a:schemeClr val="accent1"/>
          </a:solidFill>
          <a:ln>
            <a:solidFill>
              <a:schemeClr val="tx1">
                <a:lumMod val="85000"/>
                <a:lumOff val="15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arms</a:t>
            </a:r>
          </a:p>
          <a:p>
            <a:pPr algn="ctr" eaLnBrk="1" hangingPunct="1">
              <a:defRPr/>
            </a:pPr>
            <a:r>
              <a:rPr lang="en-US" sz="15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$25 - $2400</a:t>
            </a:r>
          </a:p>
          <a:p>
            <a:pPr algn="ctr" eaLnBrk="1" hangingPunct="1">
              <a:defRPr/>
            </a:pPr>
            <a:r>
              <a:rPr lang="en-U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 device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8077505-CE1F-4A53-A6FC-C744C8E2FBC8}"/>
              </a:ext>
            </a:extLst>
          </p:cNvPr>
          <p:cNvSpPr/>
          <p:nvPr/>
        </p:nvSpPr>
        <p:spPr>
          <a:xfrm>
            <a:off x="906857" y="1907196"/>
            <a:ext cx="1389961" cy="964587"/>
          </a:xfrm>
          <a:prstGeom prst="roundRect">
            <a:avLst/>
          </a:prstGeom>
          <a:solidFill>
            <a:schemeClr val="accent1"/>
          </a:solidFill>
          <a:ln>
            <a:solidFill>
              <a:schemeClr val="tx1">
                <a:lumMod val="85000"/>
                <a:lumOff val="15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ugs</a:t>
            </a:r>
          </a:p>
          <a:p>
            <a:pPr algn="ctr" eaLnBrk="1" hangingPunct="1">
              <a:defRPr/>
            </a:pPr>
            <a:r>
              <a:rPr lang="en-US" sz="15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$100 - $300</a:t>
            </a:r>
          </a:p>
          <a:p>
            <a:pPr algn="ctr" eaLnBrk="1" hangingPunct="1">
              <a:defRPr/>
            </a:pPr>
            <a:r>
              <a:rPr lang="en-U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 month</a:t>
            </a:r>
          </a:p>
        </p:txBody>
      </p:sp>
      <p:pic>
        <p:nvPicPr>
          <p:cNvPr id="48153" name="Picture 2" descr="Image result for medical clinic pics">
            <a:extLst>
              <a:ext uri="{FF2B5EF4-FFF2-40B4-BE49-F238E27FC236}">
                <a16:creationId xmlns:a16="http://schemas.microsoft.com/office/drawing/2014/main" id="{96A8ADD7-7225-485B-976D-D964029C5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3087688"/>
            <a:ext cx="1130300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F8A2526-A5B5-45FA-82AB-BE4FA5ACC9AC}"/>
              </a:ext>
            </a:extLst>
          </p:cNvPr>
          <p:cNvSpPr txBox="1"/>
          <p:nvPr/>
        </p:nvSpPr>
        <p:spPr>
          <a:xfrm>
            <a:off x="6605588" y="5251450"/>
            <a:ext cx="2243137" cy="646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Cost</a:t>
            </a:r>
          </a:p>
          <a:p>
            <a:pPr algn="ctr" eaLnBrk="1" hangingPunct="1">
              <a:defRPr/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Prohibitive</a:t>
            </a:r>
          </a:p>
        </p:txBody>
      </p:sp>
      <p:pic>
        <p:nvPicPr>
          <p:cNvPr id="48155" name="Picture 4" descr="Image result for medical clinic pics">
            <a:extLst>
              <a:ext uri="{FF2B5EF4-FFF2-40B4-BE49-F238E27FC236}">
                <a16:creationId xmlns:a16="http://schemas.microsoft.com/office/drawing/2014/main" id="{7E49C3AF-9C24-4B6E-9191-2BD4A6D472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7563" y="4110038"/>
            <a:ext cx="1041400" cy="1074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D5A1E64-3738-42AF-A122-E0362E596A07}"/>
              </a:ext>
            </a:extLst>
          </p:cNvPr>
          <p:cNvCxnSpPr>
            <a:cxnSpLocks/>
          </p:cNvCxnSpPr>
          <p:nvPr/>
        </p:nvCxnSpPr>
        <p:spPr>
          <a:xfrm>
            <a:off x="4572000" y="1906588"/>
            <a:ext cx="0" cy="36560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3A46A6D-27C7-49D4-AE95-1478321EE299}"/>
              </a:ext>
            </a:extLst>
          </p:cNvPr>
          <p:cNvCxnSpPr>
            <a:cxnSpLocks/>
          </p:cNvCxnSpPr>
          <p:nvPr/>
        </p:nvCxnSpPr>
        <p:spPr>
          <a:xfrm>
            <a:off x="6673850" y="1906588"/>
            <a:ext cx="0" cy="36560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054DB3-7E52-4FFD-A473-48037CC75529}"/>
              </a:ext>
            </a:extLst>
          </p:cNvPr>
          <p:cNvCxnSpPr>
            <a:cxnSpLocks/>
          </p:cNvCxnSpPr>
          <p:nvPr/>
        </p:nvCxnSpPr>
        <p:spPr>
          <a:xfrm>
            <a:off x="8691563" y="1906588"/>
            <a:ext cx="0" cy="36560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98B040D-2F48-45D3-B502-B37266CFF0F8}"/>
              </a:ext>
            </a:extLst>
          </p:cNvPr>
          <p:cNvCxnSpPr>
            <a:cxnSpLocks/>
          </p:cNvCxnSpPr>
          <p:nvPr/>
        </p:nvCxnSpPr>
        <p:spPr>
          <a:xfrm>
            <a:off x="587375" y="1866900"/>
            <a:ext cx="0" cy="36560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E6F16FB-7A6C-4B0D-B266-48EC03D07F2A}"/>
              </a:ext>
            </a:extLst>
          </p:cNvPr>
          <p:cNvGraphicFramePr>
            <a:graphicFrameLocks noGrp="1"/>
          </p:cNvGraphicFramePr>
          <p:nvPr/>
        </p:nvGraphicFramePr>
        <p:xfrm>
          <a:off x="438148" y="1507798"/>
          <a:ext cx="8277226" cy="4636476"/>
        </p:xfrm>
        <a:graphic>
          <a:graphicData uri="http://schemas.openxmlformats.org/drawingml/2006/table">
            <a:tbl>
              <a:tblPr firstRow="1" bandRow="1">
                <a:effectLst>
                  <a:innerShdw blurRad="114300">
                    <a:prstClr val="black"/>
                  </a:innerShdw>
                </a:effectLst>
                <a:tableStyleId>{5C22544A-7EE6-4342-B048-85BDC9FD1C3A}</a:tableStyleId>
              </a:tblPr>
              <a:tblGrid>
                <a:gridCol w="19021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13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88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725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33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781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781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1335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571500">
                <a:tc>
                  <a:txBody>
                    <a:bodyPr/>
                    <a:lstStyle/>
                    <a:p>
                      <a:pPr marL="274320" lvl="0"/>
                      <a:r>
                        <a:rPr lang="en-US" sz="1100" dirty="0"/>
                        <a:t>Features</a:t>
                      </a:r>
                    </a:p>
                  </a:txBody>
                  <a:tcPr marL="68580" marR="68580" marT="34290" marB="3429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i="0" dirty="0"/>
                        <a:t>GOGO BAND $299.95</a:t>
                      </a:r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i="0" dirty="0"/>
                        <a:t>Potty</a:t>
                      </a:r>
                      <a:r>
                        <a:rPr lang="en-US" sz="1100" i="0" baseline="0" dirty="0"/>
                        <a:t> Time</a:t>
                      </a:r>
                      <a:endParaRPr lang="en-US" sz="1000" i="1" dirty="0"/>
                    </a:p>
                    <a:p>
                      <a:pPr algn="ctr"/>
                      <a:r>
                        <a:rPr lang="en-US" sz="1100" dirty="0"/>
                        <a:t>$19.99</a:t>
                      </a:r>
                    </a:p>
                  </a:txBody>
                  <a:tcPr marL="68580" marR="68580" marT="34290" marB="3429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i="0" dirty="0" err="1"/>
                        <a:t>WobL</a:t>
                      </a:r>
                      <a:endParaRPr lang="en-US" sz="1000" i="1" dirty="0"/>
                    </a:p>
                    <a:p>
                      <a:pPr algn="ctr"/>
                      <a:r>
                        <a:rPr lang="en-US" sz="1100" dirty="0"/>
                        <a:t>$39.95</a:t>
                      </a:r>
                    </a:p>
                  </a:txBody>
                  <a:tcPr marL="68580" marR="68580" marT="34290" marB="3429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/>
                        <a:t>vibraLITE</a:t>
                      </a:r>
                      <a:endParaRPr lang="en-US" sz="1100" dirty="0"/>
                    </a:p>
                    <a:p>
                      <a:pPr algn="ctr"/>
                      <a:r>
                        <a:rPr lang="en-US" sz="1100" dirty="0"/>
                        <a:t>$59.95</a:t>
                      </a:r>
                    </a:p>
                  </a:txBody>
                  <a:tcPr marL="68580" marR="68580" marT="34290" marB="3429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w Cen MT"/>
                          <a:ea typeface="+mn-ea"/>
                          <a:cs typeface="+mn-cs"/>
                        </a:rPr>
                        <a:t>Potty Monkey</a:t>
                      </a:r>
                      <a:endParaRPr kumimoji="0" lang="en-US" sz="1000" b="1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w Cen M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w Cen MT"/>
                          <a:ea typeface="+mn-ea"/>
                          <a:cs typeface="+mn-cs"/>
                        </a:rPr>
                        <a:t>$29.99</a:t>
                      </a:r>
                    </a:p>
                  </a:txBody>
                  <a:tcPr marL="68580" marR="68580" marT="34290" marB="3429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Roger</a:t>
                      </a:r>
                    </a:p>
                    <a:p>
                      <a:pPr algn="ctr"/>
                      <a:r>
                        <a:rPr lang="en-US" sz="1100" dirty="0"/>
                        <a:t>$139.95</a:t>
                      </a:r>
                    </a:p>
                  </a:txBody>
                  <a:tcPr marL="68580" marR="68580" marT="34290" marB="3429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Malem</a:t>
                      </a:r>
                      <a:r>
                        <a:rPr lang="en-US" sz="1100" baseline="0" dirty="0"/>
                        <a:t> </a:t>
                      </a:r>
                      <a:r>
                        <a:rPr lang="en-US" sz="1000" b="0" i="1" baseline="0" dirty="0"/>
                        <a:t>(Pad)</a:t>
                      </a:r>
                      <a:endParaRPr lang="en-US" sz="1000" i="1" dirty="0"/>
                    </a:p>
                    <a:p>
                      <a:pPr algn="ctr"/>
                      <a:r>
                        <a:rPr lang="en-US" sz="1100" dirty="0"/>
                        <a:t>$169.95</a:t>
                      </a:r>
                    </a:p>
                  </a:txBody>
                  <a:tcPr marL="68580" marR="68580" marT="34290" marB="3429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1664">
                <a:tc>
                  <a:txBody>
                    <a:bodyPr/>
                    <a:lstStyle/>
                    <a:p>
                      <a:pPr marL="274320" lvl="0"/>
                      <a:r>
                        <a:rPr lang="en-US" sz="1200" dirty="0"/>
                        <a:t>Out-of-Box</a:t>
                      </a:r>
                      <a:r>
                        <a:rPr lang="en-US" sz="1200" baseline="0" dirty="0"/>
                        <a:t> Ready</a:t>
                      </a:r>
                      <a:endParaRPr lang="en-US" sz="12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Wingdings 3" panose="05040102010807070707" pitchFamily="18" charset="2"/>
                        <a:ea typeface="Yu Gothic UI Semibold" panose="020B0700000000000000" pitchFamily="34" charset="-128"/>
                      </a:endParaRPr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Wingdings 3" panose="05040102010807070707" pitchFamily="18" charset="2"/>
                        <a:ea typeface="Yu Gothic UI Semibold" panose="020B0700000000000000" pitchFamily="34" charset="-128"/>
                      </a:endParaRPr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1664">
                <a:tc>
                  <a:txBody>
                    <a:bodyPr/>
                    <a:lstStyle/>
                    <a:p>
                      <a:pPr marL="274320" lvl="0"/>
                      <a:r>
                        <a:rPr lang="en-US" sz="1200" dirty="0"/>
                        <a:t>Kid-Friendly </a:t>
                      </a:r>
                      <a:r>
                        <a:rPr lang="en-US" sz="1200" baseline="0" dirty="0"/>
                        <a:t>Design</a:t>
                      </a:r>
                      <a:endParaRPr lang="en-US" sz="12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1664">
                <a:tc>
                  <a:txBody>
                    <a:bodyPr/>
                    <a:lstStyle/>
                    <a:p>
                      <a:pPr marL="274320" lvl="0"/>
                      <a:r>
                        <a:rPr lang="en-US" sz="1200" dirty="0"/>
                        <a:t>Multi Sensory</a:t>
                      </a:r>
                      <a:r>
                        <a:rPr lang="en-US" sz="1200" baseline="0" dirty="0"/>
                        <a:t> Alarms</a:t>
                      </a:r>
                      <a:endParaRPr lang="en-US" sz="12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1664">
                <a:tc>
                  <a:txBody>
                    <a:bodyPr/>
                    <a:lstStyle/>
                    <a:p>
                      <a:pPr marL="274320" lvl="0"/>
                      <a:r>
                        <a:rPr lang="en-US" sz="1200" dirty="0"/>
                        <a:t>Waterproof (3M+)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1664"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/>
                        <a:t>Personalized Alarms</a:t>
                      </a:r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1664">
                <a:tc>
                  <a:txBody>
                    <a:bodyPr/>
                    <a:lstStyle/>
                    <a:p>
                      <a:pPr marL="274320" lvl="0"/>
                      <a:r>
                        <a:rPr lang="en-US" sz="1200" b="1" dirty="0"/>
                        <a:t>Bluetooth and</a:t>
                      </a:r>
                      <a:r>
                        <a:rPr lang="en-US" sz="1200" b="1" baseline="0" dirty="0"/>
                        <a:t> Internet</a:t>
                      </a:r>
                      <a:endParaRPr lang="en-US" sz="1200" b="1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1664"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/>
                        <a:t>Biometric Tracking </a:t>
                      </a:r>
                      <a:r>
                        <a:rPr lang="en-US" sz="800" b="1" dirty="0"/>
                        <a:t>(IPAS)</a:t>
                      </a:r>
                      <a:endParaRPr lang="en-US" sz="1200" b="1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1664">
                <a:tc>
                  <a:txBody>
                    <a:bodyPr/>
                    <a:lstStyle/>
                    <a:p>
                      <a:pPr marL="27432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/>
                        <a:t>Parental</a:t>
                      </a:r>
                      <a:r>
                        <a:rPr lang="en-US" sz="1200" b="1" baseline="0" dirty="0"/>
                        <a:t> Tracking</a:t>
                      </a:r>
                      <a:endParaRPr lang="en-US" sz="1200" b="1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1664">
                <a:tc>
                  <a:txBody>
                    <a:bodyPr/>
                    <a:lstStyle/>
                    <a:p>
                      <a:pPr marL="274320" lvl="0"/>
                      <a:r>
                        <a:rPr lang="en-US" sz="1200" b="1" dirty="0"/>
                        <a:t>Nighttime Urine</a:t>
                      </a:r>
                      <a:r>
                        <a:rPr lang="en-US" sz="1200" b="1" baseline="0" dirty="0"/>
                        <a:t> Sensor</a:t>
                      </a:r>
                      <a:endParaRPr lang="en-US" sz="1200" b="1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9BE1DBB1-EBCC-4013-BA63-F1077CB1E9CB}"/>
              </a:ext>
            </a:extLst>
          </p:cNvPr>
          <p:cNvSpPr/>
          <p:nvPr/>
        </p:nvSpPr>
        <p:spPr>
          <a:xfrm>
            <a:off x="6286500" y="2241550"/>
            <a:ext cx="184150" cy="17621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12" name="Flowchart: Connector 11">
            <a:extLst>
              <a:ext uri="{FF2B5EF4-FFF2-40B4-BE49-F238E27FC236}">
                <a16:creationId xmlns:a16="http://schemas.microsoft.com/office/drawing/2014/main" id="{0952057B-86AF-428F-ACC9-AE4CA4F27A82}"/>
              </a:ext>
            </a:extLst>
          </p:cNvPr>
          <p:cNvSpPr/>
          <p:nvPr/>
        </p:nvSpPr>
        <p:spPr>
          <a:xfrm>
            <a:off x="2713038" y="2247900"/>
            <a:ext cx="184150" cy="17621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15" name="Flowchart: Connector 14">
            <a:extLst>
              <a:ext uri="{FF2B5EF4-FFF2-40B4-BE49-F238E27FC236}">
                <a16:creationId xmlns:a16="http://schemas.microsoft.com/office/drawing/2014/main" id="{F4E774A3-10E8-442C-BF2D-5C72F06F391F}"/>
              </a:ext>
            </a:extLst>
          </p:cNvPr>
          <p:cNvSpPr/>
          <p:nvPr/>
        </p:nvSpPr>
        <p:spPr>
          <a:xfrm>
            <a:off x="3586163" y="3106738"/>
            <a:ext cx="184150" cy="1778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16" name="Flowchart: Connector 15">
            <a:extLst>
              <a:ext uri="{FF2B5EF4-FFF2-40B4-BE49-F238E27FC236}">
                <a16:creationId xmlns:a16="http://schemas.microsoft.com/office/drawing/2014/main" id="{1FA770E6-9CE1-45EC-9D04-EAB90BE2E3B2}"/>
              </a:ext>
            </a:extLst>
          </p:cNvPr>
          <p:cNvSpPr/>
          <p:nvPr/>
        </p:nvSpPr>
        <p:spPr>
          <a:xfrm>
            <a:off x="2713038" y="3114675"/>
            <a:ext cx="184150" cy="1778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17" name="Flowchart: Connector 16">
            <a:extLst>
              <a:ext uri="{FF2B5EF4-FFF2-40B4-BE49-F238E27FC236}">
                <a16:creationId xmlns:a16="http://schemas.microsoft.com/office/drawing/2014/main" id="{0E79BB0F-F61E-4571-8335-E71BE0985C95}"/>
              </a:ext>
            </a:extLst>
          </p:cNvPr>
          <p:cNvSpPr/>
          <p:nvPr/>
        </p:nvSpPr>
        <p:spPr>
          <a:xfrm>
            <a:off x="7234238" y="5851525"/>
            <a:ext cx="184150" cy="1778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0" name="Flowchart: Connector 19">
            <a:extLst>
              <a:ext uri="{FF2B5EF4-FFF2-40B4-BE49-F238E27FC236}">
                <a16:creationId xmlns:a16="http://schemas.microsoft.com/office/drawing/2014/main" id="{3C73CFD1-CBE0-478E-B623-13CF0C2482D8}"/>
              </a:ext>
            </a:extLst>
          </p:cNvPr>
          <p:cNvSpPr/>
          <p:nvPr/>
        </p:nvSpPr>
        <p:spPr>
          <a:xfrm>
            <a:off x="2713038" y="5395913"/>
            <a:ext cx="184150" cy="1778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2" name="Flowchart: Connector 21">
            <a:extLst>
              <a:ext uri="{FF2B5EF4-FFF2-40B4-BE49-F238E27FC236}">
                <a16:creationId xmlns:a16="http://schemas.microsoft.com/office/drawing/2014/main" id="{E777C75A-FBC3-4E8E-AA9B-5864F8C27835}"/>
              </a:ext>
            </a:extLst>
          </p:cNvPr>
          <p:cNvSpPr/>
          <p:nvPr/>
        </p:nvSpPr>
        <p:spPr>
          <a:xfrm>
            <a:off x="2713038" y="5851525"/>
            <a:ext cx="184150" cy="1778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3" name="Flowchart: Connector 22">
            <a:extLst>
              <a:ext uri="{FF2B5EF4-FFF2-40B4-BE49-F238E27FC236}">
                <a16:creationId xmlns:a16="http://schemas.microsoft.com/office/drawing/2014/main" id="{8DCFB0F0-3790-4CE4-B0C1-6803888EA43C}"/>
              </a:ext>
            </a:extLst>
          </p:cNvPr>
          <p:cNvSpPr/>
          <p:nvPr/>
        </p:nvSpPr>
        <p:spPr>
          <a:xfrm>
            <a:off x="6291263" y="2678113"/>
            <a:ext cx="184150" cy="176212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4" name="Flowchart: Connector 23">
            <a:extLst>
              <a:ext uri="{FF2B5EF4-FFF2-40B4-BE49-F238E27FC236}">
                <a16:creationId xmlns:a16="http://schemas.microsoft.com/office/drawing/2014/main" id="{921425D2-F80A-4B28-B817-255EB4344D3D}"/>
              </a:ext>
            </a:extLst>
          </p:cNvPr>
          <p:cNvSpPr/>
          <p:nvPr/>
        </p:nvSpPr>
        <p:spPr>
          <a:xfrm>
            <a:off x="4479925" y="3111500"/>
            <a:ext cx="184150" cy="1778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27" name="Flowchart: Connector 26">
            <a:extLst>
              <a:ext uri="{FF2B5EF4-FFF2-40B4-BE49-F238E27FC236}">
                <a16:creationId xmlns:a16="http://schemas.microsoft.com/office/drawing/2014/main" id="{9C89606F-2204-41C2-BD52-FBE5655A508B}"/>
              </a:ext>
            </a:extLst>
          </p:cNvPr>
          <p:cNvSpPr/>
          <p:nvPr/>
        </p:nvSpPr>
        <p:spPr>
          <a:xfrm>
            <a:off x="7234238" y="3111500"/>
            <a:ext cx="184150" cy="1778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38" name="Flowchart: Connector 37">
            <a:extLst>
              <a:ext uri="{FF2B5EF4-FFF2-40B4-BE49-F238E27FC236}">
                <a16:creationId xmlns:a16="http://schemas.microsoft.com/office/drawing/2014/main" id="{40ABB894-8F40-451B-80FA-D3D9354553F2}"/>
              </a:ext>
            </a:extLst>
          </p:cNvPr>
          <p:cNvSpPr/>
          <p:nvPr/>
        </p:nvSpPr>
        <p:spPr>
          <a:xfrm>
            <a:off x="2713038" y="2678113"/>
            <a:ext cx="184150" cy="176212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35" name="Flowchart: Connector 34">
            <a:extLst>
              <a:ext uri="{FF2B5EF4-FFF2-40B4-BE49-F238E27FC236}">
                <a16:creationId xmlns:a16="http://schemas.microsoft.com/office/drawing/2014/main" id="{06405448-9493-416C-BD8D-294934DA9A57}"/>
              </a:ext>
            </a:extLst>
          </p:cNvPr>
          <p:cNvSpPr/>
          <p:nvPr/>
        </p:nvSpPr>
        <p:spPr>
          <a:xfrm>
            <a:off x="5699125" y="6267450"/>
            <a:ext cx="184150" cy="1778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50191" name="TextBox 2">
            <a:extLst>
              <a:ext uri="{FF2B5EF4-FFF2-40B4-BE49-F238E27FC236}">
                <a16:creationId xmlns:a16="http://schemas.microsoft.com/office/drawing/2014/main" id="{51C69424-F876-49FC-92BA-D76C732C76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84863" y="6253163"/>
            <a:ext cx="9477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900"/>
              <a:t>Full Feature</a:t>
            </a:r>
          </a:p>
        </p:txBody>
      </p:sp>
      <p:sp>
        <p:nvSpPr>
          <p:cNvPr id="50192" name="TextBox 40">
            <a:extLst>
              <a:ext uri="{FF2B5EF4-FFF2-40B4-BE49-F238E27FC236}">
                <a16:creationId xmlns:a16="http://schemas.microsoft.com/office/drawing/2014/main" id="{BA13AF58-FDCB-4722-B8A3-E35B067334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3413" y="6253163"/>
            <a:ext cx="12890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900"/>
              <a:t>Partial Feature</a:t>
            </a:r>
          </a:p>
        </p:txBody>
      </p:sp>
      <p:sp>
        <p:nvSpPr>
          <p:cNvPr id="46" name="Flowchart: Connector 45">
            <a:extLst>
              <a:ext uri="{FF2B5EF4-FFF2-40B4-BE49-F238E27FC236}">
                <a16:creationId xmlns:a16="http://schemas.microsoft.com/office/drawing/2014/main" id="{958271C1-0055-4BAE-BBDD-338CBE51DE47}"/>
              </a:ext>
            </a:extLst>
          </p:cNvPr>
          <p:cNvSpPr/>
          <p:nvPr/>
        </p:nvSpPr>
        <p:spPr>
          <a:xfrm>
            <a:off x="2713038" y="4938713"/>
            <a:ext cx="184150" cy="176212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7" name="Flowchart: Connector 46">
            <a:extLst>
              <a:ext uri="{FF2B5EF4-FFF2-40B4-BE49-F238E27FC236}">
                <a16:creationId xmlns:a16="http://schemas.microsoft.com/office/drawing/2014/main" id="{3DC8F5B0-174C-4991-A399-47012F8DAC1C}"/>
              </a:ext>
            </a:extLst>
          </p:cNvPr>
          <p:cNvSpPr/>
          <p:nvPr/>
        </p:nvSpPr>
        <p:spPr>
          <a:xfrm>
            <a:off x="2713038" y="4483100"/>
            <a:ext cx="184150" cy="17621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8" name="Flowchart: Connector 47">
            <a:extLst>
              <a:ext uri="{FF2B5EF4-FFF2-40B4-BE49-F238E27FC236}">
                <a16:creationId xmlns:a16="http://schemas.microsoft.com/office/drawing/2014/main" id="{2008378C-EE9F-4567-9D47-78AB1228ADC4}"/>
              </a:ext>
            </a:extLst>
          </p:cNvPr>
          <p:cNvSpPr/>
          <p:nvPr/>
        </p:nvSpPr>
        <p:spPr>
          <a:xfrm>
            <a:off x="2713038" y="4029075"/>
            <a:ext cx="184150" cy="17621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9" name="Flowchart: Connector 48">
            <a:extLst>
              <a:ext uri="{FF2B5EF4-FFF2-40B4-BE49-F238E27FC236}">
                <a16:creationId xmlns:a16="http://schemas.microsoft.com/office/drawing/2014/main" id="{AE7F712A-660D-4B04-B7A5-51DB799BFF2C}"/>
              </a:ext>
            </a:extLst>
          </p:cNvPr>
          <p:cNvSpPr/>
          <p:nvPr/>
        </p:nvSpPr>
        <p:spPr>
          <a:xfrm>
            <a:off x="2713038" y="3541713"/>
            <a:ext cx="184150" cy="1778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9" name="Flowchart: Connector 38">
            <a:extLst>
              <a:ext uri="{FF2B5EF4-FFF2-40B4-BE49-F238E27FC236}">
                <a16:creationId xmlns:a16="http://schemas.microsoft.com/office/drawing/2014/main" id="{DB2C8FA6-A6B2-4E22-8659-C56A7040BA05}"/>
              </a:ext>
            </a:extLst>
          </p:cNvPr>
          <p:cNvSpPr/>
          <p:nvPr/>
        </p:nvSpPr>
        <p:spPr>
          <a:xfrm>
            <a:off x="8124825" y="5851525"/>
            <a:ext cx="184150" cy="1778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7C0D4269-9F99-4676-B99E-3C458943890A}"/>
              </a:ext>
            </a:extLst>
          </p:cNvPr>
          <p:cNvSpPr/>
          <p:nvPr/>
        </p:nvSpPr>
        <p:spPr>
          <a:xfrm>
            <a:off x="8124825" y="2244725"/>
            <a:ext cx="182563" cy="196850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53" name="Block Arc 52">
            <a:extLst>
              <a:ext uri="{FF2B5EF4-FFF2-40B4-BE49-F238E27FC236}">
                <a16:creationId xmlns:a16="http://schemas.microsoft.com/office/drawing/2014/main" id="{F511D282-98A3-4ACB-8CFC-5F609E6CAE4D}"/>
              </a:ext>
            </a:extLst>
          </p:cNvPr>
          <p:cNvSpPr/>
          <p:nvPr/>
        </p:nvSpPr>
        <p:spPr>
          <a:xfrm>
            <a:off x="6783388" y="6283325"/>
            <a:ext cx="182562" cy="196850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50200" name="TextBox 9">
            <a:extLst>
              <a:ext uri="{FF2B5EF4-FFF2-40B4-BE49-F238E27FC236}">
                <a16:creationId xmlns:a16="http://schemas.microsoft.com/office/drawing/2014/main" id="{CA395DB9-494B-4E21-88AA-7B64C1306C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32038" y="1189038"/>
            <a:ext cx="923925" cy="307975"/>
          </a:xfrm>
          <a:prstGeom prst="rect">
            <a:avLst/>
          </a:prstGeom>
          <a:solidFill>
            <a:schemeClr val="accent1"/>
          </a:solidFill>
          <a:ln w="22225">
            <a:solidFill>
              <a:schemeClr val="bg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>
                <a:solidFill>
                  <a:schemeClr val="bg1"/>
                </a:solidFill>
              </a:rPr>
              <a:t>24-Hour</a:t>
            </a:r>
          </a:p>
        </p:txBody>
      </p:sp>
      <p:sp>
        <p:nvSpPr>
          <p:cNvPr id="50201" name="TextBox 54">
            <a:extLst>
              <a:ext uri="{FF2B5EF4-FFF2-40B4-BE49-F238E27FC236}">
                <a16:creationId xmlns:a16="http://schemas.microsoft.com/office/drawing/2014/main" id="{A6A49E13-CDE8-4C7C-8BA9-AB90DB5199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55963" y="1189038"/>
            <a:ext cx="3619500" cy="307975"/>
          </a:xfrm>
          <a:prstGeom prst="rect">
            <a:avLst/>
          </a:prstGeom>
          <a:solidFill>
            <a:schemeClr val="accent1"/>
          </a:solidFill>
          <a:ln w="22225">
            <a:solidFill>
              <a:schemeClr val="bg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>
                <a:solidFill>
                  <a:schemeClr val="bg1"/>
                </a:solidFill>
              </a:rPr>
              <a:t>Daytime</a:t>
            </a:r>
          </a:p>
        </p:txBody>
      </p:sp>
      <p:sp>
        <p:nvSpPr>
          <p:cNvPr id="50202" name="TextBox 55">
            <a:extLst>
              <a:ext uri="{FF2B5EF4-FFF2-40B4-BE49-F238E27FC236}">
                <a16:creationId xmlns:a16="http://schemas.microsoft.com/office/drawing/2014/main" id="{2BB7D000-D6F2-48DF-A86A-224BB81DD6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75463" y="1189038"/>
            <a:ext cx="1839912" cy="307975"/>
          </a:xfrm>
          <a:prstGeom prst="rect">
            <a:avLst/>
          </a:prstGeom>
          <a:solidFill>
            <a:schemeClr val="accent1"/>
          </a:solidFill>
          <a:ln w="22225">
            <a:solidFill>
              <a:schemeClr val="bg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>
                <a:solidFill>
                  <a:schemeClr val="bg1"/>
                </a:solidFill>
              </a:rPr>
              <a:t>Nighttime</a:t>
            </a:r>
          </a:p>
        </p:txBody>
      </p:sp>
      <p:sp>
        <p:nvSpPr>
          <p:cNvPr id="57" name="Block Arc 56">
            <a:extLst>
              <a:ext uri="{FF2B5EF4-FFF2-40B4-BE49-F238E27FC236}">
                <a16:creationId xmlns:a16="http://schemas.microsoft.com/office/drawing/2014/main" id="{81C1C465-F2E2-46BB-9768-A02144D91C63}"/>
              </a:ext>
            </a:extLst>
          </p:cNvPr>
          <p:cNvSpPr/>
          <p:nvPr/>
        </p:nvSpPr>
        <p:spPr>
          <a:xfrm>
            <a:off x="3587750" y="2238375"/>
            <a:ext cx="182563" cy="196850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58" name="Block Arc 57">
            <a:extLst>
              <a:ext uri="{FF2B5EF4-FFF2-40B4-BE49-F238E27FC236}">
                <a16:creationId xmlns:a16="http://schemas.microsoft.com/office/drawing/2014/main" id="{E7156218-51DF-4314-9A06-6978E9095F2C}"/>
              </a:ext>
            </a:extLst>
          </p:cNvPr>
          <p:cNvSpPr/>
          <p:nvPr/>
        </p:nvSpPr>
        <p:spPr>
          <a:xfrm>
            <a:off x="3587750" y="2671763"/>
            <a:ext cx="182563" cy="196850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59" name="Block Arc 58">
            <a:extLst>
              <a:ext uri="{FF2B5EF4-FFF2-40B4-BE49-F238E27FC236}">
                <a16:creationId xmlns:a16="http://schemas.microsoft.com/office/drawing/2014/main" id="{27B53D90-FBA4-41CE-B494-115D26B3BA2B}"/>
              </a:ext>
            </a:extLst>
          </p:cNvPr>
          <p:cNvSpPr/>
          <p:nvPr/>
        </p:nvSpPr>
        <p:spPr>
          <a:xfrm>
            <a:off x="4479925" y="2244725"/>
            <a:ext cx="182563" cy="196850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60" name="Block Arc 59">
            <a:extLst>
              <a:ext uri="{FF2B5EF4-FFF2-40B4-BE49-F238E27FC236}">
                <a16:creationId xmlns:a16="http://schemas.microsoft.com/office/drawing/2014/main" id="{4DCDA0F9-DF8A-4608-B86D-C3234A88684A}"/>
              </a:ext>
            </a:extLst>
          </p:cNvPr>
          <p:cNvSpPr/>
          <p:nvPr/>
        </p:nvSpPr>
        <p:spPr>
          <a:xfrm>
            <a:off x="4479925" y="2711450"/>
            <a:ext cx="182563" cy="198438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61" name="Block Arc 60">
            <a:extLst>
              <a:ext uri="{FF2B5EF4-FFF2-40B4-BE49-F238E27FC236}">
                <a16:creationId xmlns:a16="http://schemas.microsoft.com/office/drawing/2014/main" id="{303A6A0A-6000-4896-8D4F-1ADCB91DE27D}"/>
              </a:ext>
            </a:extLst>
          </p:cNvPr>
          <p:cNvSpPr/>
          <p:nvPr/>
        </p:nvSpPr>
        <p:spPr>
          <a:xfrm>
            <a:off x="4479925" y="3621088"/>
            <a:ext cx="182563" cy="196850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62" name="Block Arc 61">
            <a:extLst>
              <a:ext uri="{FF2B5EF4-FFF2-40B4-BE49-F238E27FC236}">
                <a16:creationId xmlns:a16="http://schemas.microsoft.com/office/drawing/2014/main" id="{DDACE3FE-C5FA-4975-B4DA-4024E7B3DB39}"/>
              </a:ext>
            </a:extLst>
          </p:cNvPr>
          <p:cNvSpPr/>
          <p:nvPr/>
        </p:nvSpPr>
        <p:spPr>
          <a:xfrm>
            <a:off x="7232650" y="2238375"/>
            <a:ext cx="182563" cy="196850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63" name="Block Arc 62">
            <a:extLst>
              <a:ext uri="{FF2B5EF4-FFF2-40B4-BE49-F238E27FC236}">
                <a16:creationId xmlns:a16="http://schemas.microsoft.com/office/drawing/2014/main" id="{4552BA67-258F-4DA7-B713-0E2534A833EA}"/>
              </a:ext>
            </a:extLst>
          </p:cNvPr>
          <p:cNvSpPr/>
          <p:nvPr/>
        </p:nvSpPr>
        <p:spPr>
          <a:xfrm>
            <a:off x="5372100" y="2233613"/>
            <a:ext cx="182563" cy="196850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64" name="Block Arc 63">
            <a:extLst>
              <a:ext uri="{FF2B5EF4-FFF2-40B4-BE49-F238E27FC236}">
                <a16:creationId xmlns:a16="http://schemas.microsoft.com/office/drawing/2014/main" id="{8D8C24E5-1BF7-48DA-850F-6D7B9576FF52}"/>
              </a:ext>
            </a:extLst>
          </p:cNvPr>
          <p:cNvSpPr/>
          <p:nvPr/>
        </p:nvSpPr>
        <p:spPr>
          <a:xfrm>
            <a:off x="5372100" y="2701925"/>
            <a:ext cx="182563" cy="196850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65" name="Block Arc 64">
            <a:extLst>
              <a:ext uri="{FF2B5EF4-FFF2-40B4-BE49-F238E27FC236}">
                <a16:creationId xmlns:a16="http://schemas.microsoft.com/office/drawing/2014/main" id="{E575AAE8-EC48-48DE-A1A1-32120EF8A2A6}"/>
              </a:ext>
            </a:extLst>
          </p:cNvPr>
          <p:cNvSpPr/>
          <p:nvPr/>
        </p:nvSpPr>
        <p:spPr>
          <a:xfrm>
            <a:off x="5372100" y="3609975"/>
            <a:ext cx="182563" cy="196850"/>
          </a:xfrm>
          <a:prstGeom prst="blockArc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66" name="Flowchart: Connector 65">
            <a:extLst>
              <a:ext uri="{FF2B5EF4-FFF2-40B4-BE49-F238E27FC236}">
                <a16:creationId xmlns:a16="http://schemas.microsoft.com/office/drawing/2014/main" id="{E7CED963-731D-452A-8414-E2ECF4092536}"/>
              </a:ext>
            </a:extLst>
          </p:cNvPr>
          <p:cNvSpPr/>
          <p:nvPr/>
        </p:nvSpPr>
        <p:spPr>
          <a:xfrm>
            <a:off x="5370513" y="3106738"/>
            <a:ext cx="184150" cy="17780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13106C3-EFBC-4627-B7B2-3E15E4891A0A}"/>
              </a:ext>
            </a:extLst>
          </p:cNvPr>
          <p:cNvSpPr/>
          <p:nvPr/>
        </p:nvSpPr>
        <p:spPr>
          <a:xfrm>
            <a:off x="5195705" y="4272117"/>
            <a:ext cx="3106463" cy="1048208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600" dirty="0"/>
              <a:t>These product features are unique differentiators that are covered in GOGO BAND filed IP</a:t>
            </a:r>
          </a:p>
        </p:txBody>
      </p:sp>
      <p:sp>
        <p:nvSpPr>
          <p:cNvPr id="42" name="TextBox 7">
            <a:extLst>
              <a:ext uri="{FF2B5EF4-FFF2-40B4-BE49-F238E27FC236}">
                <a16:creationId xmlns:a16="http://schemas.microsoft.com/office/drawing/2014/main" id="{AF6474A7-5613-48C3-ABEC-AF4C89ED20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Competition</a:t>
            </a:r>
          </a:p>
        </p:txBody>
      </p:sp>
      <p:pic>
        <p:nvPicPr>
          <p:cNvPr id="50217" name="Picture 42">
            <a:extLst>
              <a:ext uri="{FF2B5EF4-FFF2-40B4-BE49-F238E27FC236}">
                <a16:creationId xmlns:a16="http://schemas.microsoft.com/office/drawing/2014/main" id="{D8E95F48-978E-4F6E-8A43-616F70FE0F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Footer Placeholder 3">
            <a:extLst>
              <a:ext uri="{FF2B5EF4-FFF2-40B4-BE49-F238E27FC236}">
                <a16:creationId xmlns:a16="http://schemas.microsoft.com/office/drawing/2014/main" id="{95A7304C-AD50-4C84-87B0-A87E36FE69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50" name="Slide Number Placeholder 5">
            <a:extLst>
              <a:ext uri="{FF2B5EF4-FFF2-40B4-BE49-F238E27FC236}">
                <a16:creationId xmlns:a16="http://schemas.microsoft.com/office/drawing/2014/main" id="{F9911828-8D53-4637-91CA-1AD09D193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82446710-459F-4FE7-810A-35A2D908D296}" type="slidenum">
              <a:rPr lang="en-US" sz="950" b="1"/>
              <a:pPr>
                <a:defRPr/>
              </a:pPr>
              <a:t>15</a:t>
            </a:fld>
            <a:endParaRPr lang="en-US" sz="950" b="1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Footer Placeholder 3">
            <a:extLst>
              <a:ext uri="{FF2B5EF4-FFF2-40B4-BE49-F238E27FC236}">
                <a16:creationId xmlns:a16="http://schemas.microsoft.com/office/drawing/2014/main" id="{B986F41D-9849-4E77-8966-F49CC3B79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0" y="6489700"/>
            <a:ext cx="5005388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3F46B4-2C22-4178-934F-DA9F137153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GOGOBAND Biometric Solution</a:t>
            </a:r>
          </a:p>
        </p:txBody>
      </p:sp>
      <p:pic>
        <p:nvPicPr>
          <p:cNvPr id="52228" name="Picture 8">
            <a:extLst>
              <a:ext uri="{FF2B5EF4-FFF2-40B4-BE49-F238E27FC236}">
                <a16:creationId xmlns:a16="http://schemas.microsoft.com/office/drawing/2014/main" id="{56C54977-C0DF-4BF9-8FE6-688AC54A73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B3989CD-17DB-4333-91E2-E72B3532B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FBCCA1FA-138D-4C7A-A695-55FABE96EF7D}" type="slidenum">
              <a:rPr lang="en-US" sz="950" b="1"/>
              <a:pPr>
                <a:defRPr/>
              </a:pPr>
              <a:t>16</a:t>
            </a:fld>
            <a:endParaRPr lang="en-US" sz="950" b="1" dirty="0"/>
          </a:p>
        </p:txBody>
      </p:sp>
      <p:pic>
        <p:nvPicPr>
          <p:cNvPr id="52230" name="Picture 7">
            <a:extLst>
              <a:ext uri="{FF2B5EF4-FFF2-40B4-BE49-F238E27FC236}">
                <a16:creationId xmlns:a16="http://schemas.microsoft.com/office/drawing/2014/main" id="{13062288-3B87-401D-8999-8DD9FD351F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2538" y="3365500"/>
            <a:ext cx="2628900" cy="147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31" name="Picture 9">
            <a:extLst>
              <a:ext uri="{FF2B5EF4-FFF2-40B4-BE49-F238E27FC236}">
                <a16:creationId xmlns:a16="http://schemas.microsoft.com/office/drawing/2014/main" id="{780E0524-81E5-4917-AF87-4610F32535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2663" y="4494213"/>
            <a:ext cx="1125537" cy="128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32" name="Picture 12">
            <a:extLst>
              <a:ext uri="{FF2B5EF4-FFF2-40B4-BE49-F238E27FC236}">
                <a16:creationId xmlns:a16="http://schemas.microsoft.com/office/drawing/2014/main" id="{85838003-C2EC-4ACF-B14F-3804B37ABB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4725" y="2371725"/>
            <a:ext cx="1146175" cy="152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33" name="Picture 6" descr="Image result for valencell benchmark sensor pics">
            <a:extLst>
              <a:ext uri="{FF2B5EF4-FFF2-40B4-BE49-F238E27FC236}">
                <a16:creationId xmlns:a16="http://schemas.microsoft.com/office/drawing/2014/main" id="{4980ACB4-FE1A-402F-8055-A255A92AB5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025" y="3368675"/>
            <a:ext cx="2100263" cy="127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BEB0A48-1439-43AD-A0E1-FF65A964AD8A}"/>
              </a:ext>
            </a:extLst>
          </p:cNvPr>
          <p:cNvSpPr txBox="1"/>
          <p:nvPr/>
        </p:nvSpPr>
        <p:spPr>
          <a:xfrm>
            <a:off x="6407150" y="2695575"/>
            <a:ext cx="2481263" cy="692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514350" eaLnBrk="1" hangingPunct="1">
              <a:defRPr/>
            </a:pPr>
            <a:r>
              <a:rPr lang="en-US" sz="1950" b="1" kern="0" dirty="0">
                <a:solidFill>
                  <a:schemeClr val="accent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Big Data</a:t>
            </a:r>
          </a:p>
          <a:p>
            <a:pPr algn="ctr" defTabSz="514350" eaLnBrk="1" hangingPunct="1">
              <a:defRPr/>
            </a:pPr>
            <a:r>
              <a:rPr lang="en-US" sz="1950" b="1" kern="0" dirty="0">
                <a:solidFill>
                  <a:schemeClr val="accent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Predictive Engin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72D26E3-8C12-4AED-82D9-A1DB694B59BA}"/>
              </a:ext>
            </a:extLst>
          </p:cNvPr>
          <p:cNvCxnSpPr>
            <a:cxnSpLocks/>
            <a:endCxn id="52231" idx="3"/>
          </p:cNvCxnSpPr>
          <p:nvPr/>
        </p:nvCxnSpPr>
        <p:spPr>
          <a:xfrm flipH="1">
            <a:off x="4648200" y="4092575"/>
            <a:ext cx="1704975" cy="1044575"/>
          </a:xfrm>
          <a:prstGeom prst="line">
            <a:avLst/>
          </a:prstGeom>
          <a:ln w="2857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DF52FFD-D634-4344-B0C5-2B57E758169B}"/>
              </a:ext>
            </a:extLst>
          </p:cNvPr>
          <p:cNvSpPr txBox="1"/>
          <p:nvPr/>
        </p:nvSpPr>
        <p:spPr>
          <a:xfrm>
            <a:off x="3336925" y="4117975"/>
            <a:ext cx="1517650" cy="392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514350" eaLnBrk="1" hangingPunct="1">
              <a:defRPr/>
            </a:pPr>
            <a:r>
              <a:rPr lang="en-US" sz="1950" b="1" kern="0" dirty="0">
                <a:solidFill>
                  <a:schemeClr val="accent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Parent Ap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50E1884-06B4-4F8B-825E-4C21FB1658A4}"/>
              </a:ext>
            </a:extLst>
          </p:cNvPr>
          <p:cNvSpPr txBox="1"/>
          <p:nvPr/>
        </p:nvSpPr>
        <p:spPr>
          <a:xfrm>
            <a:off x="268288" y="2667000"/>
            <a:ext cx="1997075" cy="692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514350" eaLnBrk="1" hangingPunct="1">
              <a:defRPr/>
            </a:pPr>
            <a:r>
              <a:rPr lang="en-US" sz="1950" b="1" kern="0" dirty="0">
                <a:solidFill>
                  <a:schemeClr val="accent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Biometric Ban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23D55BC-AB01-49BF-ABB2-856C97C0EB00}"/>
              </a:ext>
            </a:extLst>
          </p:cNvPr>
          <p:cNvSpPr txBox="1"/>
          <p:nvPr/>
        </p:nvSpPr>
        <p:spPr>
          <a:xfrm>
            <a:off x="3446463" y="1989138"/>
            <a:ext cx="1277937" cy="3921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514350" eaLnBrk="1" hangingPunct="1">
              <a:defRPr/>
            </a:pPr>
            <a:r>
              <a:rPr lang="en-US" sz="1950" b="1" kern="0" dirty="0">
                <a:solidFill>
                  <a:schemeClr val="accent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Gatewa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BB561A4-2859-48D3-9FD0-1D81D202A92F}"/>
              </a:ext>
            </a:extLst>
          </p:cNvPr>
          <p:cNvCxnSpPr>
            <a:cxnSpLocks/>
            <a:endCxn id="52232" idx="3"/>
          </p:cNvCxnSpPr>
          <p:nvPr/>
        </p:nvCxnSpPr>
        <p:spPr>
          <a:xfrm flipH="1" flipV="1">
            <a:off x="4660900" y="3135313"/>
            <a:ext cx="1692275" cy="957262"/>
          </a:xfrm>
          <a:prstGeom prst="line">
            <a:avLst/>
          </a:prstGeom>
          <a:ln w="2857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2714DDB-F5DE-493E-A60F-0D568CE2221D}"/>
              </a:ext>
            </a:extLst>
          </p:cNvPr>
          <p:cNvCxnSpPr>
            <a:cxnSpLocks/>
            <a:stCxn id="52233" idx="3"/>
            <a:endCxn id="52232" idx="1"/>
          </p:cNvCxnSpPr>
          <p:nvPr/>
        </p:nvCxnSpPr>
        <p:spPr>
          <a:xfrm flipV="1">
            <a:off x="2300288" y="3135313"/>
            <a:ext cx="1214437" cy="868362"/>
          </a:xfrm>
          <a:prstGeom prst="line">
            <a:avLst/>
          </a:prstGeom>
          <a:ln w="2857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47CDE71-0C6F-4EB2-B9AA-77DB4A991DB3}"/>
              </a:ext>
            </a:extLst>
          </p:cNvPr>
          <p:cNvSpPr txBox="1"/>
          <p:nvPr/>
        </p:nvSpPr>
        <p:spPr>
          <a:xfrm rot="19531408">
            <a:off x="2432050" y="3349625"/>
            <a:ext cx="755650" cy="254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Bluetooth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68CF599-CA39-466B-86B8-4178EADCDFDA}"/>
              </a:ext>
            </a:extLst>
          </p:cNvPr>
          <p:cNvSpPr txBox="1"/>
          <p:nvPr/>
        </p:nvSpPr>
        <p:spPr>
          <a:xfrm rot="1907733">
            <a:off x="5256213" y="3349625"/>
            <a:ext cx="454025" cy="254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sz="1050" dirty="0" err="1">
                <a:solidFill>
                  <a:schemeClr val="bg1">
                    <a:lumMod val="50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WiFi</a:t>
            </a:r>
            <a:endParaRPr lang="en-US" sz="1050" dirty="0">
              <a:solidFill>
                <a:schemeClr val="bg1">
                  <a:lumMod val="50000"/>
                </a:schemeClr>
              </a:solidFill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928721B-6D38-4AC1-96E5-33E93AD9D32A}"/>
              </a:ext>
            </a:extLst>
          </p:cNvPr>
          <p:cNvSpPr txBox="1"/>
          <p:nvPr/>
        </p:nvSpPr>
        <p:spPr>
          <a:xfrm rot="19663419">
            <a:off x="4899025" y="4506913"/>
            <a:ext cx="725488" cy="254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sz="1050" dirty="0" err="1">
                <a:solidFill>
                  <a:schemeClr val="bg1">
                    <a:lumMod val="50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WiFi</a:t>
            </a:r>
            <a:r>
              <a:rPr lang="en-US" sz="1050" dirty="0">
                <a:solidFill>
                  <a:schemeClr val="bg1">
                    <a:lumMod val="50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/Cell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extBox 7">
            <a:extLst>
              <a:ext uri="{FF2B5EF4-FFF2-40B4-BE49-F238E27FC236}">
                <a16:creationId xmlns:a16="http://schemas.microsoft.com/office/drawing/2014/main" id="{530B7952-EDE6-4B33-BA1B-8562778DC6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9650" y="3868738"/>
            <a:ext cx="7489825" cy="178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55588" indent="-255588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en-US" sz="2000">
                <a:latin typeface="Tw Cen MT" panose="020B0602020104020603" pitchFamily="34" charset="0"/>
              </a:rPr>
              <a:t>Continuous biometric data capture</a:t>
            </a:r>
          </a:p>
          <a:p>
            <a:pPr eaLnBrk="1" hangingPunct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en-US" sz="2000">
                <a:latin typeface="Tw Cen MT" panose="020B0602020104020603" pitchFamily="34" charset="0"/>
              </a:rPr>
              <a:t>IPAS big data engine intelligently predicts urination event</a:t>
            </a:r>
          </a:p>
          <a:p>
            <a:pPr eaLnBrk="1" hangingPunct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en-US" sz="2000">
                <a:latin typeface="Tw Cen MT" panose="020B0602020104020603" pitchFamily="34" charset="0"/>
              </a:rPr>
              <a:t>Machine learning continuously improves predictive accuracy</a:t>
            </a:r>
          </a:p>
          <a:p>
            <a:pPr eaLnBrk="1" hangingPunct="1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altLang="en-US" sz="2000">
                <a:latin typeface="Tw Cen MT" panose="020B0602020104020603" pitchFamily="34" charset="0"/>
              </a:rPr>
              <a:t>Significant value of biometric data for other healthcare applications</a:t>
            </a:r>
          </a:p>
        </p:txBody>
      </p:sp>
      <p:grpSp>
        <p:nvGrpSpPr>
          <p:cNvPr id="54275" name="Group 9">
            <a:extLst>
              <a:ext uri="{FF2B5EF4-FFF2-40B4-BE49-F238E27FC236}">
                <a16:creationId xmlns:a16="http://schemas.microsoft.com/office/drawing/2014/main" id="{5DA84B2A-CA0B-445C-B21F-0B373FAB7D4F}"/>
              </a:ext>
            </a:extLst>
          </p:cNvPr>
          <p:cNvGrpSpPr>
            <a:grpSpLocks/>
          </p:cNvGrpSpPr>
          <p:nvPr/>
        </p:nvGrpSpPr>
        <p:grpSpPr bwMode="auto">
          <a:xfrm>
            <a:off x="803275" y="1428750"/>
            <a:ext cx="7578725" cy="2235200"/>
            <a:chOff x="826481" y="2362282"/>
            <a:chExt cx="7578110" cy="2234176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8812EB8-AEDA-41B8-999E-FFC444EBEBC7}"/>
                </a:ext>
              </a:extLst>
            </p:cNvPr>
            <p:cNvSpPr/>
            <p:nvPr/>
          </p:nvSpPr>
          <p:spPr>
            <a:xfrm>
              <a:off x="826481" y="2362282"/>
              <a:ext cx="7536871" cy="22341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US"/>
            </a:p>
          </p:txBody>
        </p:sp>
        <p:pic>
          <p:nvPicPr>
            <p:cNvPr id="54283" name="Picture 13">
              <a:extLst>
                <a:ext uri="{FF2B5EF4-FFF2-40B4-BE49-F238E27FC236}">
                  <a16:creationId xmlns:a16="http://schemas.microsoft.com/office/drawing/2014/main" id="{0C431B9F-F278-4C0D-86FD-3A5EAA51C9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5440" y="2939024"/>
              <a:ext cx="1570531" cy="1126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4284" name="TextBox 14">
              <a:extLst>
                <a:ext uri="{FF2B5EF4-FFF2-40B4-BE49-F238E27FC236}">
                  <a16:creationId xmlns:a16="http://schemas.microsoft.com/office/drawing/2014/main" id="{C23AA7F3-A190-40F5-98BD-CA6B42C36B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90801" y="2619713"/>
              <a:ext cx="1099808" cy="3495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>
                  <a:latin typeface="Tw Cen MT" panose="020B0602020104020603" pitchFamily="34" charset="0"/>
                </a:rPr>
                <a:t>IPAS</a:t>
              </a:r>
            </a:p>
          </p:txBody>
        </p:sp>
        <p:sp>
          <p:nvSpPr>
            <p:cNvPr id="54285" name="TextBox 15">
              <a:extLst>
                <a:ext uri="{FF2B5EF4-FFF2-40B4-BE49-F238E27FC236}">
                  <a16:creationId xmlns:a16="http://schemas.microsoft.com/office/drawing/2014/main" id="{D0A10453-7787-4893-8B1D-7AEA3BB957B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71302" y="3931230"/>
              <a:ext cx="164723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>
                  <a:latin typeface="Tw Cen MT" panose="020B0602020104020603" pitchFamily="34" charset="0"/>
                </a:rPr>
                <a:t>Big Data Engine</a:t>
              </a:r>
            </a:p>
          </p:txBody>
        </p:sp>
        <p:sp>
          <p:nvSpPr>
            <p:cNvPr id="54286" name="TextBox 16">
              <a:extLst>
                <a:ext uri="{FF2B5EF4-FFF2-40B4-BE49-F238E27FC236}">
                  <a16:creationId xmlns:a16="http://schemas.microsoft.com/office/drawing/2014/main" id="{FC5CC716-10FC-4958-8869-C707CFD9E6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80866" y="3026637"/>
              <a:ext cx="2423725" cy="9079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>
                  <a:latin typeface="Tw Cen MT" panose="020B0602020104020603" pitchFamily="34" charset="0"/>
                </a:rPr>
                <a:t>Intelligent Predictive Alarming System</a:t>
              </a:r>
            </a:p>
            <a:p>
              <a:pPr algn="ctr" eaLnBrk="1" hangingPunct="1"/>
              <a:r>
                <a:rPr lang="en-US" altLang="en-US" sz="1700" i="1">
                  <a:latin typeface="Tw Cen MT" panose="020B0602020104020603" pitchFamily="34" charset="0"/>
                </a:rPr>
                <a:t>(Machine Learning)</a:t>
              </a:r>
            </a:p>
          </p:txBody>
        </p:sp>
        <p:grpSp>
          <p:nvGrpSpPr>
            <p:cNvPr id="54287" name="Group 3">
              <a:extLst>
                <a:ext uri="{FF2B5EF4-FFF2-40B4-BE49-F238E27FC236}">
                  <a16:creationId xmlns:a16="http://schemas.microsoft.com/office/drawing/2014/main" id="{EB6D4E0F-0AB3-47FC-AC1C-E4BA5EEA6B2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38799" y="2460976"/>
              <a:ext cx="2051379" cy="381060"/>
              <a:chOff x="1029894" y="1536970"/>
              <a:chExt cx="2089629" cy="381060"/>
            </a:xfrm>
          </p:grpSpPr>
          <p:sp>
            <p:nvSpPr>
              <p:cNvPr id="54304" name="TextBox 1">
                <a:extLst>
                  <a:ext uri="{FF2B5EF4-FFF2-40B4-BE49-F238E27FC236}">
                    <a16:creationId xmlns:a16="http://schemas.microsoft.com/office/drawing/2014/main" id="{2C21EA02-034C-45F6-8E45-A7A250283E8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29894" y="1536970"/>
                <a:ext cx="2089629" cy="3495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r>
                  <a:rPr lang="en-US" altLang="en-US">
                    <a:latin typeface="Tw Cen MT" panose="020B0602020104020603" pitchFamily="34" charset="0"/>
                  </a:rPr>
                  <a:t>Heart rate </a:t>
                </a:r>
              </a:p>
            </p:txBody>
          </p:sp>
          <p:sp>
            <p:nvSpPr>
              <p:cNvPr id="3" name="Up Arrow 2">
                <a:extLst>
                  <a:ext uri="{FF2B5EF4-FFF2-40B4-BE49-F238E27FC236}">
                    <a16:creationId xmlns:a16="http://schemas.microsoft.com/office/drawing/2014/main" id="{3D793C10-CDA4-4D8D-988F-CFFB67FE7E41}"/>
                  </a:ext>
                </a:extLst>
              </p:cNvPr>
              <p:cNvSpPr/>
              <p:nvPr/>
            </p:nvSpPr>
            <p:spPr bwMode="auto">
              <a:xfrm>
                <a:off x="2605216" y="1615995"/>
                <a:ext cx="205355" cy="301487"/>
              </a:xfrm>
              <a:prstGeom prst="upArrow">
                <a:avLst/>
              </a:prstGeom>
              <a:solidFill>
                <a:srgbClr val="C0000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/>
              </a:p>
            </p:txBody>
          </p:sp>
        </p:grpSp>
        <p:grpSp>
          <p:nvGrpSpPr>
            <p:cNvPr id="54288" name="Group 15">
              <a:extLst>
                <a:ext uri="{FF2B5EF4-FFF2-40B4-BE49-F238E27FC236}">
                  <a16:creationId xmlns:a16="http://schemas.microsoft.com/office/drawing/2014/main" id="{4BF00DB2-87AD-49F7-BFAD-7B15962314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38799" y="2882795"/>
              <a:ext cx="2051379" cy="369332"/>
              <a:chOff x="1029894" y="2030758"/>
              <a:chExt cx="2089629" cy="369332"/>
            </a:xfrm>
          </p:grpSpPr>
          <p:sp>
            <p:nvSpPr>
              <p:cNvPr id="54302" name="TextBox 5">
                <a:extLst>
                  <a:ext uri="{FF2B5EF4-FFF2-40B4-BE49-F238E27FC236}">
                    <a16:creationId xmlns:a16="http://schemas.microsoft.com/office/drawing/2014/main" id="{16A20B22-8E48-462E-834B-F795250250F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29894" y="2030758"/>
                <a:ext cx="2089629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r>
                  <a:rPr lang="en-US" altLang="en-US">
                    <a:latin typeface="Tw Cen MT" panose="020B0602020104020603" pitchFamily="34" charset="0"/>
                  </a:rPr>
                  <a:t>Respiration</a:t>
                </a:r>
              </a:p>
            </p:txBody>
          </p:sp>
          <p:sp>
            <p:nvSpPr>
              <p:cNvPr id="7" name="Up Arrow 6">
                <a:extLst>
                  <a:ext uri="{FF2B5EF4-FFF2-40B4-BE49-F238E27FC236}">
                    <a16:creationId xmlns:a16="http://schemas.microsoft.com/office/drawing/2014/main" id="{838ED163-73A4-4DCE-9DD8-BAF22833E923}"/>
                  </a:ext>
                </a:extLst>
              </p:cNvPr>
              <p:cNvSpPr/>
              <p:nvPr/>
            </p:nvSpPr>
            <p:spPr bwMode="auto">
              <a:xfrm>
                <a:off x="2605216" y="2079897"/>
                <a:ext cx="205355" cy="299900"/>
              </a:xfrm>
              <a:prstGeom prst="upArrow">
                <a:avLst/>
              </a:prstGeom>
              <a:solidFill>
                <a:srgbClr val="C0000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/>
              </a:p>
            </p:txBody>
          </p:sp>
        </p:grpSp>
        <p:grpSp>
          <p:nvGrpSpPr>
            <p:cNvPr id="54289" name="Group 18">
              <a:extLst>
                <a:ext uri="{FF2B5EF4-FFF2-40B4-BE49-F238E27FC236}">
                  <a16:creationId xmlns:a16="http://schemas.microsoft.com/office/drawing/2014/main" id="{A27EB3A5-E76D-4B48-AA4E-C864797A195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38799" y="3726434"/>
              <a:ext cx="2051379" cy="379168"/>
              <a:chOff x="1037198" y="3018335"/>
              <a:chExt cx="2089629" cy="379168"/>
            </a:xfrm>
          </p:grpSpPr>
          <p:sp>
            <p:nvSpPr>
              <p:cNvPr id="54300" name="TextBox 8">
                <a:extLst>
                  <a:ext uri="{FF2B5EF4-FFF2-40B4-BE49-F238E27FC236}">
                    <a16:creationId xmlns:a16="http://schemas.microsoft.com/office/drawing/2014/main" id="{789D3F41-6134-4C2E-937F-D687692D289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37198" y="3018335"/>
                <a:ext cx="2089629" cy="3495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r>
                  <a:rPr lang="en-US" altLang="en-US">
                    <a:latin typeface="Tw Cen MT" panose="020B0602020104020603" pitchFamily="34" charset="0"/>
                  </a:rPr>
                  <a:t>Movement</a:t>
                </a:r>
              </a:p>
            </p:txBody>
          </p:sp>
          <p:sp>
            <p:nvSpPr>
              <p:cNvPr id="5" name="Up-Down Arrow 4">
                <a:extLst>
                  <a:ext uri="{FF2B5EF4-FFF2-40B4-BE49-F238E27FC236}">
                    <a16:creationId xmlns:a16="http://schemas.microsoft.com/office/drawing/2014/main" id="{1C5A3E77-13AB-4701-AD1F-09CC1F2539C4}"/>
                  </a:ext>
                </a:extLst>
              </p:cNvPr>
              <p:cNvSpPr/>
              <p:nvPr/>
            </p:nvSpPr>
            <p:spPr bwMode="auto">
              <a:xfrm>
                <a:off x="2612520" y="3048957"/>
                <a:ext cx="205355" cy="349090"/>
              </a:xfrm>
              <a:prstGeom prst="upDownArrow">
                <a:avLst/>
              </a:prstGeom>
              <a:solidFill>
                <a:srgbClr val="41AD6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/>
              </a:p>
            </p:txBody>
          </p:sp>
        </p:grpSp>
        <p:grpSp>
          <p:nvGrpSpPr>
            <p:cNvPr id="54290" name="Group 16">
              <a:extLst>
                <a:ext uri="{FF2B5EF4-FFF2-40B4-BE49-F238E27FC236}">
                  <a16:creationId xmlns:a16="http://schemas.microsoft.com/office/drawing/2014/main" id="{D04942BC-D8AF-4E51-A132-9316FE47CE6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38799" y="3304614"/>
              <a:ext cx="2051379" cy="368429"/>
              <a:chOff x="1029893" y="2524546"/>
              <a:chExt cx="2089629" cy="368429"/>
            </a:xfrm>
          </p:grpSpPr>
          <p:sp>
            <p:nvSpPr>
              <p:cNvPr id="54298" name="TextBox 9">
                <a:extLst>
                  <a:ext uri="{FF2B5EF4-FFF2-40B4-BE49-F238E27FC236}">
                    <a16:creationId xmlns:a16="http://schemas.microsoft.com/office/drawing/2014/main" id="{C5DEE2B3-14E5-4364-A0E1-64F2BF85856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29893" y="2524546"/>
                <a:ext cx="2089629" cy="3495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r>
                  <a:rPr lang="en-US" altLang="en-US">
                    <a:latin typeface="Tw Cen MT" panose="020B0602020104020603" pitchFamily="34" charset="0"/>
                  </a:rPr>
                  <a:t>Temperature</a:t>
                </a:r>
              </a:p>
            </p:txBody>
          </p:sp>
          <p:sp>
            <p:nvSpPr>
              <p:cNvPr id="12" name="Up Arrow 11">
                <a:extLst>
                  <a:ext uri="{FF2B5EF4-FFF2-40B4-BE49-F238E27FC236}">
                    <a16:creationId xmlns:a16="http://schemas.microsoft.com/office/drawing/2014/main" id="{6DDBB961-52E2-4CCA-B755-3A734EE36D71}"/>
                  </a:ext>
                </a:extLst>
              </p:cNvPr>
              <p:cNvSpPr/>
              <p:nvPr/>
            </p:nvSpPr>
            <p:spPr bwMode="auto">
              <a:xfrm flipV="1">
                <a:off x="2605215" y="2592989"/>
                <a:ext cx="205355" cy="299899"/>
              </a:xfrm>
              <a:prstGeom prst="upArrow">
                <a:avLst/>
              </a:prstGeom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/>
              </a:p>
            </p:txBody>
          </p:sp>
        </p:grpSp>
        <p:grpSp>
          <p:nvGrpSpPr>
            <p:cNvPr id="54291" name="Group 21">
              <a:extLst>
                <a:ext uri="{FF2B5EF4-FFF2-40B4-BE49-F238E27FC236}">
                  <a16:creationId xmlns:a16="http://schemas.microsoft.com/office/drawing/2014/main" id="{B47C5092-8213-4281-BB83-B94A8ECD974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38799" y="4148253"/>
              <a:ext cx="2051379" cy="380290"/>
              <a:chOff x="1029894" y="3512125"/>
              <a:chExt cx="2089629" cy="380290"/>
            </a:xfrm>
          </p:grpSpPr>
          <p:sp>
            <p:nvSpPr>
              <p:cNvPr id="54296" name="TextBox 10">
                <a:extLst>
                  <a:ext uri="{FF2B5EF4-FFF2-40B4-BE49-F238E27FC236}">
                    <a16:creationId xmlns:a16="http://schemas.microsoft.com/office/drawing/2014/main" id="{6AE5A640-D45A-48C2-B45A-8E97EC77DE2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29894" y="3512125"/>
                <a:ext cx="2089629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r>
                  <a:rPr lang="en-US" altLang="en-US">
                    <a:latin typeface="Tw Cen MT" panose="020B0602020104020603" pitchFamily="34" charset="0"/>
                  </a:rPr>
                  <a:t>Blood Pressure</a:t>
                </a:r>
              </a:p>
            </p:txBody>
          </p:sp>
          <p:sp>
            <p:nvSpPr>
              <p:cNvPr id="18" name="Up-Down Arrow 17">
                <a:extLst>
                  <a:ext uri="{FF2B5EF4-FFF2-40B4-BE49-F238E27FC236}">
                    <a16:creationId xmlns:a16="http://schemas.microsoft.com/office/drawing/2014/main" id="{E593389C-E560-4A40-A546-EA5D9C2A1550}"/>
                  </a:ext>
                </a:extLst>
              </p:cNvPr>
              <p:cNvSpPr/>
              <p:nvPr/>
            </p:nvSpPr>
            <p:spPr bwMode="auto">
              <a:xfrm>
                <a:off x="2605216" y="3544595"/>
                <a:ext cx="205355" cy="347504"/>
              </a:xfrm>
              <a:prstGeom prst="upDownArrow">
                <a:avLst/>
              </a:prstGeom>
              <a:solidFill>
                <a:srgbClr val="41AD6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/>
              </a:p>
            </p:txBody>
          </p:sp>
        </p:grp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39B8C07-996F-452A-9244-CD16AF72611D}"/>
                </a:ext>
              </a:extLst>
            </p:cNvPr>
            <p:cNvCxnSpPr/>
            <p:nvPr/>
          </p:nvCxnSpPr>
          <p:spPr bwMode="auto">
            <a:xfrm>
              <a:off x="3004354" y="2835140"/>
              <a:ext cx="846069" cy="606147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9E64505-4887-4D91-B532-9AA17F33A06C}"/>
                </a:ext>
              </a:extLst>
            </p:cNvPr>
            <p:cNvCxnSpPr/>
            <p:nvPr/>
          </p:nvCxnSpPr>
          <p:spPr bwMode="auto">
            <a:xfrm flipV="1">
              <a:off x="3036102" y="3441287"/>
              <a:ext cx="800035" cy="707701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ight Arrow 30">
              <a:extLst>
                <a:ext uri="{FF2B5EF4-FFF2-40B4-BE49-F238E27FC236}">
                  <a16:creationId xmlns:a16="http://schemas.microsoft.com/office/drawing/2014/main" id="{DC275670-9BE6-4573-835B-CB1D8E7A78D5}"/>
                </a:ext>
              </a:extLst>
            </p:cNvPr>
            <p:cNvSpPr/>
            <p:nvPr/>
          </p:nvSpPr>
          <p:spPr bwMode="auto">
            <a:xfrm>
              <a:off x="5369537" y="3231833"/>
              <a:ext cx="601614" cy="249124"/>
            </a:xfrm>
            <a:prstGeom prst="rightArrow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32" name="Right Arrow 31">
              <a:extLst>
                <a:ext uri="{FF2B5EF4-FFF2-40B4-BE49-F238E27FC236}">
                  <a16:creationId xmlns:a16="http://schemas.microsoft.com/office/drawing/2014/main" id="{716708C9-D9D8-4CDE-8DF7-63644B41D323}"/>
                </a:ext>
              </a:extLst>
            </p:cNvPr>
            <p:cNvSpPr/>
            <p:nvPr/>
          </p:nvSpPr>
          <p:spPr bwMode="auto">
            <a:xfrm rot="10800000">
              <a:off x="5369537" y="3452395"/>
              <a:ext cx="601614" cy="247537"/>
            </a:xfrm>
            <a:prstGeom prst="rightArrow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34" name="TextBox 7">
            <a:extLst>
              <a:ext uri="{FF2B5EF4-FFF2-40B4-BE49-F238E27FC236}">
                <a16:creationId xmlns:a16="http://schemas.microsoft.com/office/drawing/2014/main" id="{B5813427-6602-4CEF-9CF3-6408C55F4D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The Power of Biometrics</a:t>
            </a:r>
          </a:p>
        </p:txBody>
      </p:sp>
      <p:pic>
        <p:nvPicPr>
          <p:cNvPr id="54277" name="Picture 34">
            <a:extLst>
              <a:ext uri="{FF2B5EF4-FFF2-40B4-BE49-F238E27FC236}">
                <a16:creationId xmlns:a16="http://schemas.microsoft.com/office/drawing/2014/main" id="{9A7DCC83-F2F2-453E-A1CC-9B69192E64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E25A63D-FB4B-4A2B-A998-76A67B3C91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37" name="Slide Number Placeholder 5">
            <a:extLst>
              <a:ext uri="{FF2B5EF4-FFF2-40B4-BE49-F238E27FC236}">
                <a16:creationId xmlns:a16="http://schemas.microsoft.com/office/drawing/2014/main" id="{C8B9C3A5-679B-43F7-BE61-37039210A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FC96A9BD-B257-48DB-93FF-9AAD668A93AE}" type="slidenum">
              <a:rPr lang="en-US" sz="950" b="1"/>
              <a:pPr>
                <a:defRPr/>
              </a:pPr>
              <a:t>17</a:t>
            </a:fld>
            <a:endParaRPr lang="en-US" sz="950" b="1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370" name="Group 1">
            <a:extLst>
              <a:ext uri="{FF2B5EF4-FFF2-40B4-BE49-F238E27FC236}">
                <a16:creationId xmlns:a16="http://schemas.microsoft.com/office/drawing/2014/main" id="{BCA4A36A-A369-4A3F-B638-1FFE27DC0302}"/>
              </a:ext>
            </a:extLst>
          </p:cNvPr>
          <p:cNvGrpSpPr>
            <a:grpSpLocks/>
          </p:cNvGrpSpPr>
          <p:nvPr/>
        </p:nvGrpSpPr>
        <p:grpSpPr bwMode="auto">
          <a:xfrm>
            <a:off x="500063" y="1381125"/>
            <a:ext cx="7904162" cy="4330700"/>
            <a:chOff x="501650" y="1568451"/>
            <a:chExt cx="7975945" cy="4798143"/>
          </a:xfrm>
        </p:grpSpPr>
        <p:sp>
          <p:nvSpPr>
            <p:cNvPr id="58377" name="Rectangle 201">
              <a:extLst>
                <a:ext uri="{FF2B5EF4-FFF2-40B4-BE49-F238E27FC236}">
                  <a16:creationId xmlns:a16="http://schemas.microsoft.com/office/drawing/2014/main" id="{7DF0FB98-A9CE-456C-AC15-ED55B38A4E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7413" y="6081713"/>
              <a:ext cx="227012" cy="136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900" b="1">
                  <a:solidFill>
                    <a:srgbClr val="000000"/>
                  </a:solidFill>
                  <a:latin typeface="Verdana" panose="020B0604030504040204" pitchFamily="34" charset="0"/>
                </a:rPr>
                <a:t>0%</a:t>
              </a:r>
              <a:endParaRPr lang="en-US" altLang="en-US" sz="900" b="1"/>
            </a:p>
          </p:txBody>
        </p:sp>
        <p:sp>
          <p:nvSpPr>
            <p:cNvPr id="58378" name="Rectangle 157">
              <a:extLst>
                <a:ext uri="{FF2B5EF4-FFF2-40B4-BE49-F238E27FC236}">
                  <a16:creationId xmlns:a16="http://schemas.microsoft.com/office/drawing/2014/main" id="{705D1E74-4647-4678-8740-DB4FD03B74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6900" y="5131518"/>
              <a:ext cx="825500" cy="6054"/>
            </a:xfrm>
            <a:prstGeom prst="rect">
              <a:avLst/>
            </a:prstGeom>
            <a:solidFill>
              <a:srgbClr val="FFF5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58379" name="Rectangle 135">
              <a:extLst>
                <a:ext uri="{FF2B5EF4-FFF2-40B4-BE49-F238E27FC236}">
                  <a16:creationId xmlns:a16="http://schemas.microsoft.com/office/drawing/2014/main" id="{14CC9FA6-B5D0-4272-A157-6AD8171364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425" y="5411539"/>
              <a:ext cx="473075" cy="4540"/>
            </a:xfrm>
            <a:prstGeom prst="rect">
              <a:avLst/>
            </a:prstGeom>
            <a:solidFill>
              <a:srgbClr val="63AA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58380" name="Freeform 162">
              <a:extLst>
                <a:ext uri="{FF2B5EF4-FFF2-40B4-BE49-F238E27FC236}">
                  <a16:creationId xmlns:a16="http://schemas.microsoft.com/office/drawing/2014/main" id="{D06C1031-D46D-498A-93F1-8D290B715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1100" y="5683991"/>
              <a:ext cx="7291388" cy="270938"/>
            </a:xfrm>
            <a:custGeom>
              <a:avLst/>
              <a:gdLst>
                <a:gd name="T0" fmla="*/ 0 w 4064"/>
                <a:gd name="T1" fmla="*/ 179 h 179"/>
                <a:gd name="T2" fmla="*/ 220 w 4064"/>
                <a:gd name="T3" fmla="*/ 0 h 179"/>
                <a:gd name="T4" fmla="*/ 4064 w 4064"/>
                <a:gd name="T5" fmla="*/ 0 h 179"/>
                <a:gd name="T6" fmla="*/ 3844 w 4064"/>
                <a:gd name="T7" fmla="*/ 179 h 179"/>
                <a:gd name="T8" fmla="*/ 0 w 4064"/>
                <a:gd name="T9" fmla="*/ 179 h 1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064" h="179">
                  <a:moveTo>
                    <a:pt x="0" y="179"/>
                  </a:moveTo>
                  <a:lnTo>
                    <a:pt x="220" y="0"/>
                  </a:lnTo>
                  <a:lnTo>
                    <a:pt x="4064" y="0"/>
                  </a:lnTo>
                  <a:lnTo>
                    <a:pt x="3844" y="179"/>
                  </a:lnTo>
                  <a:lnTo>
                    <a:pt x="0" y="17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283" name="Freeform 163">
              <a:extLst>
                <a:ext uri="{FF2B5EF4-FFF2-40B4-BE49-F238E27FC236}">
                  <a16:creationId xmlns:a16="http://schemas.microsoft.com/office/drawing/2014/main" id="{3A803B44-5C86-4FE7-AD85-28930F03C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1100" y="1574505"/>
              <a:ext cx="393700" cy="4380423"/>
            </a:xfrm>
            <a:custGeom>
              <a:avLst/>
              <a:gdLst/>
              <a:ahLst/>
              <a:cxnLst>
                <a:cxn ang="0">
                  <a:pos x="0" y="2894"/>
                </a:cxn>
                <a:cxn ang="0">
                  <a:pos x="0" y="179"/>
                </a:cxn>
                <a:cxn ang="0">
                  <a:pos x="220" y="0"/>
                </a:cxn>
                <a:cxn ang="0">
                  <a:pos x="220" y="2715"/>
                </a:cxn>
                <a:cxn ang="0">
                  <a:pos x="0" y="2894"/>
                </a:cxn>
              </a:cxnLst>
              <a:rect l="0" t="0" r="r" b="b"/>
              <a:pathLst>
                <a:path w="220" h="2894">
                  <a:moveTo>
                    <a:pt x="0" y="2894"/>
                  </a:moveTo>
                  <a:lnTo>
                    <a:pt x="0" y="179"/>
                  </a:lnTo>
                  <a:lnTo>
                    <a:pt x="220" y="0"/>
                  </a:lnTo>
                  <a:lnTo>
                    <a:pt x="220" y="2715"/>
                  </a:lnTo>
                  <a:lnTo>
                    <a:pt x="0" y="2894"/>
                  </a:lnTo>
                  <a:close/>
                </a:path>
              </a:pathLst>
            </a:custGeom>
            <a:solidFill>
              <a:srgbClr val="CDCDCD"/>
            </a:solidFill>
            <a:ln w="9525">
              <a:noFill/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pPr eaLnBrk="1" hangingPunct="1">
                <a:defRPr/>
              </a:pPr>
              <a:endParaRPr lang="en-US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5284" name="Rectangle 164">
              <a:extLst>
                <a:ext uri="{FF2B5EF4-FFF2-40B4-BE49-F238E27FC236}">
                  <a16:creationId xmlns:a16="http://schemas.microsoft.com/office/drawing/2014/main" id="{76FEE112-A77D-408A-B867-58F07F7B4B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9907" y="1577595"/>
              <a:ext cx="6897688" cy="4109485"/>
            </a:xfrm>
            <a:prstGeom prst="rect">
              <a:avLst/>
            </a:prstGeom>
            <a:solidFill>
              <a:srgbClr val="CDCDCD"/>
            </a:soli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pPr eaLnBrk="1" hangingPunct="1">
                <a:defRPr/>
              </a:pPr>
              <a:endParaRPr lang="en-US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58387" name="Freeform 165">
              <a:extLst>
                <a:ext uri="{FF2B5EF4-FFF2-40B4-BE49-F238E27FC236}">
                  <a16:creationId xmlns:a16="http://schemas.microsoft.com/office/drawing/2014/main" id="{237F7DB0-F674-4EB2-9EDA-E23B2286B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1100" y="5683991"/>
              <a:ext cx="7291388" cy="270938"/>
            </a:xfrm>
            <a:custGeom>
              <a:avLst/>
              <a:gdLst>
                <a:gd name="T0" fmla="*/ 0 w 4064"/>
                <a:gd name="T1" fmla="*/ 179 h 179"/>
                <a:gd name="T2" fmla="*/ 220 w 4064"/>
                <a:gd name="T3" fmla="*/ 0 h 179"/>
                <a:gd name="T4" fmla="*/ 4064 w 4064"/>
                <a:gd name="T5" fmla="*/ 0 h 17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064" h="179">
                  <a:moveTo>
                    <a:pt x="0" y="179"/>
                  </a:moveTo>
                  <a:lnTo>
                    <a:pt x="220" y="0"/>
                  </a:lnTo>
                  <a:lnTo>
                    <a:pt x="4064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388" name="Freeform 171">
              <a:extLst>
                <a:ext uri="{FF2B5EF4-FFF2-40B4-BE49-F238E27FC236}">
                  <a16:creationId xmlns:a16="http://schemas.microsoft.com/office/drawing/2014/main" id="{B2F8FC3A-3D41-4AEC-A690-0882E0871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1100" y="1574505"/>
              <a:ext cx="7291388" cy="270939"/>
            </a:xfrm>
            <a:custGeom>
              <a:avLst/>
              <a:gdLst>
                <a:gd name="T0" fmla="*/ 0 w 4064"/>
                <a:gd name="T1" fmla="*/ 179 h 179"/>
                <a:gd name="T2" fmla="*/ 220 w 4064"/>
                <a:gd name="T3" fmla="*/ 0 h 179"/>
                <a:gd name="T4" fmla="*/ 4064 w 4064"/>
                <a:gd name="T5" fmla="*/ 0 h 17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064" h="179">
                  <a:moveTo>
                    <a:pt x="0" y="179"/>
                  </a:moveTo>
                  <a:lnTo>
                    <a:pt x="220" y="0"/>
                  </a:lnTo>
                  <a:lnTo>
                    <a:pt x="4064" y="0"/>
                  </a:lnTo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389" name="Freeform 172">
              <a:extLst>
                <a:ext uri="{FF2B5EF4-FFF2-40B4-BE49-F238E27FC236}">
                  <a16:creationId xmlns:a16="http://schemas.microsoft.com/office/drawing/2014/main" id="{A282D379-1C3B-45D6-A528-DBB617063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1100" y="5683991"/>
              <a:ext cx="7291388" cy="270938"/>
            </a:xfrm>
            <a:custGeom>
              <a:avLst/>
              <a:gdLst>
                <a:gd name="T0" fmla="*/ 4064 w 4064"/>
                <a:gd name="T1" fmla="*/ 0 h 179"/>
                <a:gd name="T2" fmla="*/ 3844 w 4064"/>
                <a:gd name="T3" fmla="*/ 179 h 179"/>
                <a:gd name="T4" fmla="*/ 0 w 4064"/>
                <a:gd name="T5" fmla="*/ 179 h 179"/>
                <a:gd name="T6" fmla="*/ 220 w 4064"/>
                <a:gd name="T7" fmla="*/ 0 h 179"/>
                <a:gd name="T8" fmla="*/ 4064 w 4064"/>
                <a:gd name="T9" fmla="*/ 0 h 1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064" h="179">
                  <a:moveTo>
                    <a:pt x="4064" y="0"/>
                  </a:moveTo>
                  <a:lnTo>
                    <a:pt x="3844" y="179"/>
                  </a:lnTo>
                  <a:lnTo>
                    <a:pt x="0" y="179"/>
                  </a:lnTo>
                  <a:lnTo>
                    <a:pt x="220" y="0"/>
                  </a:lnTo>
                  <a:lnTo>
                    <a:pt x="4064" y="0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390" name="Freeform 173">
              <a:extLst>
                <a:ext uri="{FF2B5EF4-FFF2-40B4-BE49-F238E27FC236}">
                  <a16:creationId xmlns:a16="http://schemas.microsoft.com/office/drawing/2014/main" id="{EAD6AF9E-57DE-42AA-9D59-0DD730475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4750" y="1568451"/>
              <a:ext cx="393700" cy="4380423"/>
            </a:xfrm>
            <a:custGeom>
              <a:avLst/>
              <a:gdLst>
                <a:gd name="T0" fmla="*/ 0 w 220"/>
                <a:gd name="T1" fmla="*/ 2894 h 2894"/>
                <a:gd name="T2" fmla="*/ 0 w 220"/>
                <a:gd name="T3" fmla="*/ 178 h 2894"/>
                <a:gd name="T4" fmla="*/ 220 w 220"/>
                <a:gd name="T5" fmla="*/ 0 h 2894"/>
                <a:gd name="T6" fmla="*/ 220 w 220"/>
                <a:gd name="T7" fmla="*/ 2715 h 2894"/>
                <a:gd name="T8" fmla="*/ 0 w 220"/>
                <a:gd name="T9" fmla="*/ 2894 h 28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0" h="2894">
                  <a:moveTo>
                    <a:pt x="0" y="2894"/>
                  </a:moveTo>
                  <a:lnTo>
                    <a:pt x="0" y="178"/>
                  </a:lnTo>
                  <a:lnTo>
                    <a:pt x="220" y="0"/>
                  </a:lnTo>
                  <a:lnTo>
                    <a:pt x="220" y="2715"/>
                  </a:lnTo>
                  <a:lnTo>
                    <a:pt x="0" y="2894"/>
                  </a:lnTo>
                  <a:close/>
                </a:path>
              </a:pathLst>
            </a:custGeom>
            <a:noFill/>
            <a:ln w="1270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391" name="Rectangle 174">
              <a:extLst>
                <a:ext uri="{FF2B5EF4-FFF2-40B4-BE49-F238E27FC236}">
                  <a16:creationId xmlns:a16="http://schemas.microsoft.com/office/drawing/2014/main" id="{A7A8E202-6206-4331-AF93-67523439EC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5772" y="1578830"/>
              <a:ext cx="6897688" cy="4109485"/>
            </a:xfrm>
            <a:prstGeom prst="rect">
              <a:avLst/>
            </a:prstGeom>
            <a:noFill/>
            <a:ln w="12700">
              <a:solidFill>
                <a:srgbClr val="80808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grpSp>
          <p:nvGrpSpPr>
            <p:cNvPr id="58392" name="Group 230">
              <a:extLst>
                <a:ext uri="{FF2B5EF4-FFF2-40B4-BE49-F238E27FC236}">
                  <a16:creationId xmlns:a16="http://schemas.microsoft.com/office/drawing/2014/main" id="{0E6FDB7B-3909-4C4B-996C-5F61F057D4B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00238" y="4028088"/>
              <a:ext cx="614362" cy="1845105"/>
              <a:chOff x="1244" y="2613"/>
              <a:chExt cx="342" cy="1219"/>
            </a:xfrm>
          </p:grpSpPr>
          <p:sp>
            <p:nvSpPr>
              <p:cNvPr id="5295" name="Freeform 175">
                <a:extLst>
                  <a:ext uri="{FF2B5EF4-FFF2-40B4-BE49-F238E27FC236}">
                    <a16:creationId xmlns:a16="http://schemas.microsoft.com/office/drawing/2014/main" id="{2CDBDF8B-4F7F-4A0F-A3BB-F307843097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9" y="2613"/>
                <a:ext cx="87" cy="1219"/>
              </a:xfrm>
              <a:custGeom>
                <a:avLst/>
                <a:gdLst/>
                <a:ahLst/>
                <a:cxnLst>
                  <a:cxn ang="0">
                    <a:pos x="0" y="1219"/>
                  </a:cxn>
                  <a:cxn ang="0">
                    <a:pos x="0" y="74"/>
                  </a:cxn>
                  <a:cxn ang="0">
                    <a:pos x="87" y="0"/>
                  </a:cxn>
                  <a:cxn ang="0">
                    <a:pos x="87" y="1148"/>
                  </a:cxn>
                  <a:cxn ang="0">
                    <a:pos x="0" y="1219"/>
                  </a:cxn>
                </a:cxnLst>
                <a:rect l="0" t="0" r="r" b="b"/>
                <a:pathLst>
                  <a:path w="87" h="1219">
                    <a:moveTo>
                      <a:pt x="0" y="1219"/>
                    </a:moveTo>
                    <a:lnTo>
                      <a:pt x="0" y="74"/>
                    </a:lnTo>
                    <a:lnTo>
                      <a:pt x="87" y="0"/>
                    </a:lnTo>
                    <a:lnTo>
                      <a:pt x="87" y="1148"/>
                    </a:lnTo>
                    <a:lnTo>
                      <a:pt x="0" y="1219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  <p:sp>
            <p:nvSpPr>
              <p:cNvPr id="5296" name="Rectangle 176">
                <a:extLst>
                  <a:ext uri="{FF2B5EF4-FFF2-40B4-BE49-F238E27FC236}">
                    <a16:creationId xmlns:a16="http://schemas.microsoft.com/office/drawing/2014/main" id="{9A8D619E-02AA-4DA3-A791-74417D0214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4" y="2687"/>
                <a:ext cx="255" cy="1145"/>
              </a:xfrm>
              <a:prstGeom prst="rect">
                <a:avLst/>
              </a:prstGeom>
              <a:solidFill>
                <a:srgbClr val="0070C0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 dirty="0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  <p:sp>
            <p:nvSpPr>
              <p:cNvPr id="5297" name="Freeform 177">
                <a:extLst>
                  <a:ext uri="{FF2B5EF4-FFF2-40B4-BE49-F238E27FC236}">
                    <a16:creationId xmlns:a16="http://schemas.microsoft.com/office/drawing/2014/main" id="{6749F8DF-1AD8-4F84-B052-40F7ACE23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4" y="2613"/>
                <a:ext cx="342" cy="74"/>
              </a:xfrm>
              <a:custGeom>
                <a:avLst/>
                <a:gdLst/>
                <a:ahLst/>
                <a:cxnLst>
                  <a:cxn ang="0">
                    <a:pos x="255" y="74"/>
                  </a:cxn>
                  <a:cxn ang="0">
                    <a:pos x="342" y="0"/>
                  </a:cxn>
                  <a:cxn ang="0">
                    <a:pos x="87" y="0"/>
                  </a:cxn>
                  <a:cxn ang="0">
                    <a:pos x="0" y="74"/>
                  </a:cxn>
                  <a:cxn ang="0">
                    <a:pos x="255" y="74"/>
                  </a:cxn>
                </a:cxnLst>
                <a:rect l="0" t="0" r="r" b="b"/>
                <a:pathLst>
                  <a:path w="342" h="74">
                    <a:moveTo>
                      <a:pt x="255" y="74"/>
                    </a:moveTo>
                    <a:lnTo>
                      <a:pt x="342" y="0"/>
                    </a:lnTo>
                    <a:lnTo>
                      <a:pt x="87" y="0"/>
                    </a:lnTo>
                    <a:lnTo>
                      <a:pt x="0" y="74"/>
                    </a:lnTo>
                    <a:lnTo>
                      <a:pt x="255" y="74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</p:grpSp>
        <p:grpSp>
          <p:nvGrpSpPr>
            <p:cNvPr id="58393" name="Group 225">
              <a:extLst>
                <a:ext uri="{FF2B5EF4-FFF2-40B4-BE49-F238E27FC236}">
                  <a16:creationId xmlns:a16="http://schemas.microsoft.com/office/drawing/2014/main" id="{54D2439E-F97A-443A-8BB6-ABE5E55782B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47988" y="3519511"/>
              <a:ext cx="619125" cy="622098"/>
              <a:chOff x="1883" y="3421"/>
              <a:chExt cx="345" cy="411"/>
            </a:xfrm>
          </p:grpSpPr>
          <p:sp>
            <p:nvSpPr>
              <p:cNvPr id="5298" name="Freeform 178">
                <a:extLst>
                  <a:ext uri="{FF2B5EF4-FFF2-40B4-BE49-F238E27FC236}">
                    <a16:creationId xmlns:a16="http://schemas.microsoft.com/office/drawing/2014/main" id="{0C0986B8-7DA8-4C04-93D4-127A8791D9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9" y="3421"/>
                <a:ext cx="89" cy="411"/>
              </a:xfrm>
              <a:custGeom>
                <a:avLst/>
                <a:gdLst/>
                <a:ahLst/>
                <a:cxnLst>
                  <a:cxn ang="0">
                    <a:pos x="0" y="411"/>
                  </a:cxn>
                  <a:cxn ang="0">
                    <a:pos x="0" y="73"/>
                  </a:cxn>
                  <a:cxn ang="0">
                    <a:pos x="89" y="0"/>
                  </a:cxn>
                  <a:cxn ang="0">
                    <a:pos x="89" y="340"/>
                  </a:cxn>
                  <a:cxn ang="0">
                    <a:pos x="0" y="411"/>
                  </a:cxn>
                </a:cxnLst>
                <a:rect l="0" t="0" r="r" b="b"/>
                <a:pathLst>
                  <a:path w="89" h="411">
                    <a:moveTo>
                      <a:pt x="0" y="411"/>
                    </a:moveTo>
                    <a:lnTo>
                      <a:pt x="0" y="73"/>
                    </a:lnTo>
                    <a:lnTo>
                      <a:pt x="89" y="0"/>
                    </a:lnTo>
                    <a:lnTo>
                      <a:pt x="89" y="340"/>
                    </a:lnTo>
                    <a:lnTo>
                      <a:pt x="0" y="411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  <p:sp>
            <p:nvSpPr>
              <p:cNvPr id="5299" name="Rectangle 179">
                <a:extLst>
                  <a:ext uri="{FF2B5EF4-FFF2-40B4-BE49-F238E27FC236}">
                    <a16:creationId xmlns:a16="http://schemas.microsoft.com/office/drawing/2014/main" id="{7DFA84B2-78F0-4C0C-B6CA-9DCE40A88E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3" y="3490"/>
                <a:ext cx="256" cy="338"/>
              </a:xfrm>
              <a:prstGeom prst="rect">
                <a:avLst/>
              </a:prstGeom>
              <a:solidFill>
                <a:srgbClr val="0070C0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solidFill>
                    <a:schemeClr val="bg1"/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  <p:sp>
            <p:nvSpPr>
              <p:cNvPr id="5300" name="Freeform 180">
                <a:extLst>
                  <a:ext uri="{FF2B5EF4-FFF2-40B4-BE49-F238E27FC236}">
                    <a16:creationId xmlns:a16="http://schemas.microsoft.com/office/drawing/2014/main" id="{9E5D14DB-6200-44B1-B40A-0892AC5D2F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" y="3421"/>
                <a:ext cx="345" cy="73"/>
              </a:xfrm>
              <a:custGeom>
                <a:avLst/>
                <a:gdLst/>
                <a:ahLst/>
                <a:cxnLst>
                  <a:cxn ang="0">
                    <a:pos x="256" y="73"/>
                  </a:cxn>
                  <a:cxn ang="0">
                    <a:pos x="345" y="0"/>
                  </a:cxn>
                  <a:cxn ang="0">
                    <a:pos x="87" y="0"/>
                  </a:cxn>
                  <a:cxn ang="0">
                    <a:pos x="0" y="73"/>
                  </a:cxn>
                  <a:cxn ang="0">
                    <a:pos x="256" y="73"/>
                  </a:cxn>
                </a:cxnLst>
                <a:rect l="0" t="0" r="r" b="b"/>
                <a:pathLst>
                  <a:path w="345" h="73">
                    <a:moveTo>
                      <a:pt x="256" y="73"/>
                    </a:moveTo>
                    <a:lnTo>
                      <a:pt x="345" y="0"/>
                    </a:lnTo>
                    <a:lnTo>
                      <a:pt x="87" y="0"/>
                    </a:lnTo>
                    <a:lnTo>
                      <a:pt x="0" y="73"/>
                    </a:lnTo>
                    <a:lnTo>
                      <a:pt x="256" y="73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 dirty="0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</p:grpSp>
        <p:grpSp>
          <p:nvGrpSpPr>
            <p:cNvPr id="58394" name="Group 226">
              <a:extLst>
                <a:ext uri="{FF2B5EF4-FFF2-40B4-BE49-F238E27FC236}">
                  <a16:creationId xmlns:a16="http://schemas.microsoft.com/office/drawing/2014/main" id="{80E5AD9C-4693-44B6-A9A2-FA1954B0A7D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02088" y="3103264"/>
              <a:ext cx="617537" cy="517659"/>
              <a:chOff x="2523" y="3490"/>
              <a:chExt cx="344" cy="342"/>
            </a:xfrm>
          </p:grpSpPr>
          <p:sp>
            <p:nvSpPr>
              <p:cNvPr id="5301" name="Freeform 181">
                <a:extLst>
                  <a:ext uri="{FF2B5EF4-FFF2-40B4-BE49-F238E27FC236}">
                    <a16:creationId xmlns:a16="http://schemas.microsoft.com/office/drawing/2014/main" id="{5D5A54DC-CFBB-48C8-92D2-6C017E652F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0" y="3490"/>
                <a:ext cx="87" cy="342"/>
              </a:xfrm>
              <a:custGeom>
                <a:avLst/>
                <a:gdLst/>
                <a:ahLst/>
                <a:cxnLst>
                  <a:cxn ang="0">
                    <a:pos x="0" y="342"/>
                  </a:cxn>
                  <a:cxn ang="0">
                    <a:pos x="0" y="71"/>
                  </a:cxn>
                  <a:cxn ang="0">
                    <a:pos x="87" y="0"/>
                  </a:cxn>
                  <a:cxn ang="0">
                    <a:pos x="87" y="271"/>
                  </a:cxn>
                  <a:cxn ang="0">
                    <a:pos x="0" y="342"/>
                  </a:cxn>
                </a:cxnLst>
                <a:rect l="0" t="0" r="r" b="b"/>
                <a:pathLst>
                  <a:path w="87" h="342">
                    <a:moveTo>
                      <a:pt x="0" y="342"/>
                    </a:moveTo>
                    <a:lnTo>
                      <a:pt x="0" y="71"/>
                    </a:lnTo>
                    <a:lnTo>
                      <a:pt x="87" y="0"/>
                    </a:lnTo>
                    <a:lnTo>
                      <a:pt x="87" y="271"/>
                    </a:lnTo>
                    <a:lnTo>
                      <a:pt x="0" y="342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  <p:sp>
            <p:nvSpPr>
              <p:cNvPr id="5302" name="Rectangle 182">
                <a:extLst>
                  <a:ext uri="{FF2B5EF4-FFF2-40B4-BE49-F238E27FC236}">
                    <a16:creationId xmlns:a16="http://schemas.microsoft.com/office/drawing/2014/main" id="{7586B3BD-5553-4302-B57F-B25C4C8AAA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23" y="3561"/>
                <a:ext cx="257" cy="271"/>
              </a:xfrm>
              <a:prstGeom prst="rect">
                <a:avLst/>
              </a:prstGeom>
              <a:solidFill>
                <a:srgbClr val="0070C0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solidFill>
                    <a:schemeClr val="bg1"/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  <p:sp>
            <p:nvSpPr>
              <p:cNvPr id="5303" name="Freeform 183">
                <a:extLst>
                  <a:ext uri="{FF2B5EF4-FFF2-40B4-BE49-F238E27FC236}">
                    <a16:creationId xmlns:a16="http://schemas.microsoft.com/office/drawing/2014/main" id="{639B8FA3-9C9A-47BE-BFD2-014189C15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3" y="3490"/>
                <a:ext cx="344" cy="71"/>
              </a:xfrm>
              <a:custGeom>
                <a:avLst/>
                <a:gdLst/>
                <a:ahLst/>
                <a:cxnLst>
                  <a:cxn ang="0">
                    <a:pos x="257" y="71"/>
                  </a:cxn>
                  <a:cxn ang="0">
                    <a:pos x="344" y="0"/>
                  </a:cxn>
                  <a:cxn ang="0">
                    <a:pos x="89" y="0"/>
                  </a:cxn>
                  <a:cxn ang="0">
                    <a:pos x="0" y="71"/>
                  </a:cxn>
                  <a:cxn ang="0">
                    <a:pos x="257" y="71"/>
                  </a:cxn>
                </a:cxnLst>
                <a:rect l="0" t="0" r="r" b="b"/>
                <a:pathLst>
                  <a:path w="344" h="71">
                    <a:moveTo>
                      <a:pt x="257" y="71"/>
                    </a:moveTo>
                    <a:lnTo>
                      <a:pt x="344" y="0"/>
                    </a:lnTo>
                    <a:lnTo>
                      <a:pt x="89" y="0"/>
                    </a:lnTo>
                    <a:lnTo>
                      <a:pt x="0" y="71"/>
                    </a:lnTo>
                    <a:lnTo>
                      <a:pt x="257" y="71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</p:grpSp>
        <p:grpSp>
          <p:nvGrpSpPr>
            <p:cNvPr id="58395" name="Group 227">
              <a:extLst>
                <a:ext uri="{FF2B5EF4-FFF2-40B4-BE49-F238E27FC236}">
                  <a16:creationId xmlns:a16="http://schemas.microsoft.com/office/drawing/2014/main" id="{560AE6A6-6C0A-48EE-A5EB-74A7ADC2218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40313" y="2623446"/>
              <a:ext cx="617537" cy="585771"/>
              <a:chOff x="3165" y="3445"/>
              <a:chExt cx="344" cy="387"/>
            </a:xfrm>
          </p:grpSpPr>
          <p:sp>
            <p:nvSpPr>
              <p:cNvPr id="5304" name="Freeform 184">
                <a:extLst>
                  <a:ext uri="{FF2B5EF4-FFF2-40B4-BE49-F238E27FC236}">
                    <a16:creationId xmlns:a16="http://schemas.microsoft.com/office/drawing/2014/main" id="{9C6F0527-2E29-4861-A2E2-D51360279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0" y="3445"/>
                <a:ext cx="89" cy="387"/>
              </a:xfrm>
              <a:custGeom>
                <a:avLst/>
                <a:gdLst/>
                <a:ahLst/>
                <a:cxnLst>
                  <a:cxn ang="0">
                    <a:pos x="0" y="387"/>
                  </a:cxn>
                  <a:cxn ang="0">
                    <a:pos x="0" y="71"/>
                  </a:cxn>
                  <a:cxn ang="0">
                    <a:pos x="89" y="0"/>
                  </a:cxn>
                  <a:cxn ang="0">
                    <a:pos x="89" y="316"/>
                  </a:cxn>
                  <a:cxn ang="0">
                    <a:pos x="0" y="387"/>
                  </a:cxn>
                </a:cxnLst>
                <a:rect l="0" t="0" r="r" b="b"/>
                <a:pathLst>
                  <a:path w="89" h="387">
                    <a:moveTo>
                      <a:pt x="0" y="387"/>
                    </a:moveTo>
                    <a:lnTo>
                      <a:pt x="0" y="71"/>
                    </a:lnTo>
                    <a:lnTo>
                      <a:pt x="89" y="0"/>
                    </a:lnTo>
                    <a:lnTo>
                      <a:pt x="89" y="316"/>
                    </a:lnTo>
                    <a:lnTo>
                      <a:pt x="0" y="387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  <p:sp>
            <p:nvSpPr>
              <p:cNvPr id="5305" name="Rectangle 185">
                <a:extLst>
                  <a:ext uri="{FF2B5EF4-FFF2-40B4-BE49-F238E27FC236}">
                    <a16:creationId xmlns:a16="http://schemas.microsoft.com/office/drawing/2014/main" id="{1E8BB490-65F2-44A0-8931-99E416B9C1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3516"/>
                <a:ext cx="255" cy="316"/>
              </a:xfrm>
              <a:prstGeom prst="rect">
                <a:avLst/>
              </a:prstGeom>
              <a:solidFill>
                <a:srgbClr val="0070C0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solidFill>
                    <a:schemeClr val="bg1"/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  <p:sp>
            <p:nvSpPr>
              <p:cNvPr id="5306" name="Freeform 186">
                <a:extLst>
                  <a:ext uri="{FF2B5EF4-FFF2-40B4-BE49-F238E27FC236}">
                    <a16:creationId xmlns:a16="http://schemas.microsoft.com/office/drawing/2014/main" id="{42427FE2-E532-41B3-A6EB-D9BB56F5A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5" y="3445"/>
                <a:ext cx="344" cy="71"/>
              </a:xfrm>
              <a:custGeom>
                <a:avLst/>
                <a:gdLst/>
                <a:ahLst/>
                <a:cxnLst>
                  <a:cxn ang="0">
                    <a:pos x="255" y="71"/>
                  </a:cxn>
                  <a:cxn ang="0">
                    <a:pos x="344" y="0"/>
                  </a:cxn>
                  <a:cxn ang="0">
                    <a:pos x="87" y="0"/>
                  </a:cxn>
                  <a:cxn ang="0">
                    <a:pos x="0" y="71"/>
                  </a:cxn>
                  <a:cxn ang="0">
                    <a:pos x="255" y="71"/>
                  </a:cxn>
                </a:cxnLst>
                <a:rect l="0" t="0" r="r" b="b"/>
                <a:pathLst>
                  <a:path w="344" h="71">
                    <a:moveTo>
                      <a:pt x="255" y="71"/>
                    </a:moveTo>
                    <a:lnTo>
                      <a:pt x="344" y="0"/>
                    </a:lnTo>
                    <a:lnTo>
                      <a:pt x="87" y="0"/>
                    </a:lnTo>
                    <a:lnTo>
                      <a:pt x="0" y="71"/>
                    </a:lnTo>
                    <a:lnTo>
                      <a:pt x="255" y="71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</p:grpSp>
        <p:grpSp>
          <p:nvGrpSpPr>
            <p:cNvPr id="58396" name="Group 228">
              <a:extLst>
                <a:ext uri="{FF2B5EF4-FFF2-40B4-BE49-F238E27FC236}">
                  <a16:creationId xmlns:a16="http://schemas.microsoft.com/office/drawing/2014/main" id="{C551854F-2A26-4E9A-A401-4C0784ABECD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097588" y="2075515"/>
              <a:ext cx="619125" cy="655398"/>
              <a:chOff x="3804" y="3399"/>
              <a:chExt cx="345" cy="433"/>
            </a:xfrm>
          </p:grpSpPr>
          <p:sp>
            <p:nvSpPr>
              <p:cNvPr id="5307" name="Freeform 187">
                <a:extLst>
                  <a:ext uri="{FF2B5EF4-FFF2-40B4-BE49-F238E27FC236}">
                    <a16:creationId xmlns:a16="http://schemas.microsoft.com/office/drawing/2014/main" id="{5D59A25D-93D1-4442-832A-C1ABCDB57C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2" y="3399"/>
                <a:ext cx="87" cy="433"/>
              </a:xfrm>
              <a:custGeom>
                <a:avLst/>
                <a:gdLst/>
                <a:ahLst/>
                <a:cxnLst>
                  <a:cxn ang="0">
                    <a:pos x="0" y="433"/>
                  </a:cxn>
                  <a:cxn ang="0">
                    <a:pos x="0" y="71"/>
                  </a:cxn>
                  <a:cxn ang="0">
                    <a:pos x="87" y="0"/>
                  </a:cxn>
                  <a:cxn ang="0">
                    <a:pos x="87" y="362"/>
                  </a:cxn>
                  <a:cxn ang="0">
                    <a:pos x="0" y="433"/>
                  </a:cxn>
                </a:cxnLst>
                <a:rect l="0" t="0" r="r" b="b"/>
                <a:pathLst>
                  <a:path w="87" h="433">
                    <a:moveTo>
                      <a:pt x="0" y="433"/>
                    </a:moveTo>
                    <a:lnTo>
                      <a:pt x="0" y="71"/>
                    </a:lnTo>
                    <a:lnTo>
                      <a:pt x="87" y="0"/>
                    </a:lnTo>
                    <a:lnTo>
                      <a:pt x="87" y="362"/>
                    </a:lnTo>
                    <a:lnTo>
                      <a:pt x="0" y="433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  <p:sp>
            <p:nvSpPr>
              <p:cNvPr id="5308" name="Rectangle 188">
                <a:extLst>
                  <a:ext uri="{FF2B5EF4-FFF2-40B4-BE49-F238E27FC236}">
                    <a16:creationId xmlns:a16="http://schemas.microsoft.com/office/drawing/2014/main" id="{8B85400F-B8F5-4066-9209-7F92BBE1F3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4" y="3470"/>
                <a:ext cx="258" cy="362"/>
              </a:xfrm>
              <a:prstGeom prst="rect">
                <a:avLst/>
              </a:prstGeom>
              <a:solidFill>
                <a:srgbClr val="0070C0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solidFill>
                    <a:schemeClr val="bg1"/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  <p:sp>
            <p:nvSpPr>
              <p:cNvPr id="5309" name="Freeform 189">
                <a:extLst>
                  <a:ext uri="{FF2B5EF4-FFF2-40B4-BE49-F238E27FC236}">
                    <a16:creationId xmlns:a16="http://schemas.microsoft.com/office/drawing/2014/main" id="{47D3A37B-DB9A-4DA5-AA1A-9F4A228694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3399"/>
                <a:ext cx="345" cy="71"/>
              </a:xfrm>
              <a:custGeom>
                <a:avLst/>
                <a:gdLst/>
                <a:ahLst/>
                <a:cxnLst>
                  <a:cxn ang="0">
                    <a:pos x="258" y="71"/>
                  </a:cxn>
                  <a:cxn ang="0">
                    <a:pos x="345" y="0"/>
                  </a:cxn>
                  <a:cxn ang="0">
                    <a:pos x="89" y="0"/>
                  </a:cxn>
                  <a:cxn ang="0">
                    <a:pos x="0" y="71"/>
                  </a:cxn>
                  <a:cxn ang="0">
                    <a:pos x="258" y="71"/>
                  </a:cxn>
                </a:cxnLst>
                <a:rect l="0" t="0" r="r" b="b"/>
                <a:pathLst>
                  <a:path w="345" h="71">
                    <a:moveTo>
                      <a:pt x="258" y="71"/>
                    </a:moveTo>
                    <a:lnTo>
                      <a:pt x="345" y="0"/>
                    </a:lnTo>
                    <a:lnTo>
                      <a:pt x="89" y="0"/>
                    </a:lnTo>
                    <a:lnTo>
                      <a:pt x="0" y="71"/>
                    </a:lnTo>
                    <a:lnTo>
                      <a:pt x="258" y="71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</p:grpSp>
        <p:grpSp>
          <p:nvGrpSpPr>
            <p:cNvPr id="58397" name="Group 229">
              <a:extLst>
                <a:ext uri="{FF2B5EF4-FFF2-40B4-BE49-F238E27FC236}">
                  <a16:creationId xmlns:a16="http://schemas.microsoft.com/office/drawing/2014/main" id="{52B9C56F-EA9C-4D58-A7DC-5E6122A2346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153275" y="2077028"/>
              <a:ext cx="1002022" cy="3796165"/>
              <a:chOff x="4446" y="1324"/>
              <a:chExt cx="342" cy="2508"/>
            </a:xfrm>
          </p:grpSpPr>
          <p:sp>
            <p:nvSpPr>
              <p:cNvPr id="5310" name="Freeform 190">
                <a:extLst>
                  <a:ext uri="{FF2B5EF4-FFF2-40B4-BE49-F238E27FC236}">
                    <a16:creationId xmlns:a16="http://schemas.microsoft.com/office/drawing/2014/main" id="{0C0F9FF6-E956-4068-9C43-349BBB3788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1" y="1324"/>
                <a:ext cx="87" cy="2508"/>
              </a:xfrm>
              <a:custGeom>
                <a:avLst/>
                <a:gdLst/>
                <a:ahLst/>
                <a:cxnLst>
                  <a:cxn ang="0">
                    <a:pos x="0" y="2508"/>
                  </a:cxn>
                  <a:cxn ang="0">
                    <a:pos x="0" y="71"/>
                  </a:cxn>
                  <a:cxn ang="0">
                    <a:pos x="87" y="0"/>
                  </a:cxn>
                  <a:cxn ang="0">
                    <a:pos x="87" y="2437"/>
                  </a:cxn>
                  <a:cxn ang="0">
                    <a:pos x="0" y="2508"/>
                  </a:cxn>
                </a:cxnLst>
                <a:rect l="0" t="0" r="r" b="b"/>
                <a:pathLst>
                  <a:path w="87" h="2508">
                    <a:moveTo>
                      <a:pt x="0" y="2508"/>
                    </a:moveTo>
                    <a:lnTo>
                      <a:pt x="0" y="71"/>
                    </a:lnTo>
                    <a:lnTo>
                      <a:pt x="87" y="0"/>
                    </a:lnTo>
                    <a:lnTo>
                      <a:pt x="87" y="2437"/>
                    </a:lnTo>
                    <a:lnTo>
                      <a:pt x="0" y="2508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  <p:sp>
            <p:nvSpPr>
              <p:cNvPr id="5311" name="Rectangle 191">
                <a:extLst>
                  <a:ext uri="{FF2B5EF4-FFF2-40B4-BE49-F238E27FC236}">
                    <a16:creationId xmlns:a16="http://schemas.microsoft.com/office/drawing/2014/main" id="{57C6ADA4-A186-4012-B242-154A9D7B73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46" y="1395"/>
                <a:ext cx="255" cy="2437"/>
              </a:xfrm>
              <a:prstGeom prst="rect">
                <a:avLst/>
              </a:prstGeom>
              <a:solidFill>
                <a:srgbClr val="0070C0"/>
              </a:solidFill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  <p:sp>
            <p:nvSpPr>
              <p:cNvPr id="5312" name="Freeform 192">
                <a:extLst>
                  <a:ext uri="{FF2B5EF4-FFF2-40B4-BE49-F238E27FC236}">
                    <a16:creationId xmlns:a16="http://schemas.microsoft.com/office/drawing/2014/main" id="{774F2470-19CD-4DCB-BE6C-0630695517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6" y="1324"/>
                <a:ext cx="342" cy="71"/>
              </a:xfrm>
              <a:custGeom>
                <a:avLst/>
                <a:gdLst/>
                <a:ahLst/>
                <a:cxnLst>
                  <a:cxn ang="0">
                    <a:pos x="255" y="71"/>
                  </a:cxn>
                  <a:cxn ang="0">
                    <a:pos x="342" y="0"/>
                  </a:cxn>
                  <a:cxn ang="0">
                    <a:pos x="87" y="0"/>
                  </a:cxn>
                  <a:cxn ang="0">
                    <a:pos x="0" y="71"/>
                  </a:cxn>
                  <a:cxn ang="0">
                    <a:pos x="255" y="71"/>
                  </a:cxn>
                </a:cxnLst>
                <a:rect l="0" t="0" r="r" b="b"/>
                <a:pathLst>
                  <a:path w="342" h="71">
                    <a:moveTo>
                      <a:pt x="255" y="71"/>
                    </a:moveTo>
                    <a:lnTo>
                      <a:pt x="342" y="0"/>
                    </a:lnTo>
                    <a:lnTo>
                      <a:pt x="87" y="0"/>
                    </a:lnTo>
                    <a:lnTo>
                      <a:pt x="0" y="71"/>
                    </a:lnTo>
                    <a:lnTo>
                      <a:pt x="255" y="71"/>
                    </a:lnTo>
                    <a:close/>
                  </a:path>
                </a:pathLst>
              </a:custGeom>
              <a:solidFill>
                <a:srgbClr val="0070C0"/>
              </a:solidFill>
              <a:ln w="9525">
                <a:noFill/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 prstMaterial="matte">
                <a:bevelT/>
              </a:sp3d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endParaRPr>
              </a:p>
            </p:txBody>
          </p:sp>
        </p:grpSp>
        <p:sp>
          <p:nvSpPr>
            <p:cNvPr id="58398" name="Line 193">
              <a:extLst>
                <a:ext uri="{FF2B5EF4-FFF2-40B4-BE49-F238E27FC236}">
                  <a16:creationId xmlns:a16="http://schemas.microsoft.com/office/drawing/2014/main" id="{B9830A84-B1AC-4FD9-A61B-25E0C49E7D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81100" y="1845444"/>
              <a:ext cx="1588" cy="4109485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399" name="Rectangle 202">
              <a:extLst>
                <a:ext uri="{FF2B5EF4-FFF2-40B4-BE49-F238E27FC236}">
                  <a16:creationId xmlns:a16="http://schemas.microsoft.com/office/drawing/2014/main" id="{E55B8961-D52F-47AF-BB8D-AABF73DD88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038" y="5186009"/>
              <a:ext cx="307975" cy="130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900" b="1">
                  <a:solidFill>
                    <a:srgbClr val="000000"/>
                  </a:solidFill>
                  <a:latin typeface="Verdana" panose="020B0604030504040204" pitchFamily="34" charset="0"/>
                </a:rPr>
                <a:t>10%</a:t>
              </a:r>
              <a:endParaRPr lang="en-US" altLang="en-US" sz="900" b="1"/>
            </a:p>
          </p:txBody>
        </p:sp>
        <p:sp>
          <p:nvSpPr>
            <p:cNvPr id="58400" name="Rectangle 203">
              <a:extLst>
                <a:ext uri="{FF2B5EF4-FFF2-40B4-BE49-F238E27FC236}">
                  <a16:creationId xmlns:a16="http://schemas.microsoft.com/office/drawing/2014/main" id="{2E6F8CF2-8F94-49DB-BC75-3F4A578729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038" y="4501851"/>
              <a:ext cx="307975" cy="130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900" b="1">
                  <a:solidFill>
                    <a:srgbClr val="000000"/>
                  </a:solidFill>
                  <a:latin typeface="Verdana" panose="020B0604030504040204" pitchFamily="34" charset="0"/>
                </a:rPr>
                <a:t>20%</a:t>
              </a:r>
              <a:endParaRPr lang="en-US" altLang="en-US" sz="900" b="1"/>
            </a:p>
          </p:txBody>
        </p:sp>
        <p:sp>
          <p:nvSpPr>
            <p:cNvPr id="58401" name="Rectangle 204">
              <a:extLst>
                <a:ext uri="{FF2B5EF4-FFF2-40B4-BE49-F238E27FC236}">
                  <a16:creationId xmlns:a16="http://schemas.microsoft.com/office/drawing/2014/main" id="{B60148EB-5FEB-4267-AEBE-457374D14D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038" y="3817694"/>
              <a:ext cx="307975" cy="130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900" b="1">
                  <a:solidFill>
                    <a:srgbClr val="000000"/>
                  </a:solidFill>
                  <a:latin typeface="Verdana" panose="020B0604030504040204" pitchFamily="34" charset="0"/>
                </a:rPr>
                <a:t>30%</a:t>
              </a:r>
              <a:endParaRPr lang="en-US" altLang="en-US" sz="900" b="1"/>
            </a:p>
          </p:txBody>
        </p:sp>
        <p:sp>
          <p:nvSpPr>
            <p:cNvPr id="58402" name="Rectangle 205">
              <a:extLst>
                <a:ext uri="{FF2B5EF4-FFF2-40B4-BE49-F238E27FC236}">
                  <a16:creationId xmlns:a16="http://schemas.microsoft.com/office/drawing/2014/main" id="{57B0441F-6C92-4CDF-969C-FE4E09DECD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038" y="3133537"/>
              <a:ext cx="307975" cy="130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900" b="1">
                  <a:solidFill>
                    <a:srgbClr val="000000"/>
                  </a:solidFill>
                  <a:latin typeface="Verdana" panose="020B0604030504040204" pitchFamily="34" charset="0"/>
                </a:rPr>
                <a:t>40%</a:t>
              </a:r>
              <a:endParaRPr lang="en-US" altLang="en-US" sz="900" b="1"/>
            </a:p>
          </p:txBody>
        </p:sp>
        <p:sp>
          <p:nvSpPr>
            <p:cNvPr id="58403" name="Rectangle 206">
              <a:extLst>
                <a:ext uri="{FF2B5EF4-FFF2-40B4-BE49-F238E27FC236}">
                  <a16:creationId xmlns:a16="http://schemas.microsoft.com/office/drawing/2014/main" id="{F0F020A6-DBED-47B7-865D-C9A9200DC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038" y="2444839"/>
              <a:ext cx="307975" cy="130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900" b="1">
                  <a:solidFill>
                    <a:srgbClr val="000000"/>
                  </a:solidFill>
                  <a:latin typeface="Verdana" panose="020B0604030504040204" pitchFamily="34" charset="0"/>
                </a:rPr>
                <a:t>50%</a:t>
              </a:r>
              <a:endParaRPr lang="en-US" altLang="en-US" sz="900" b="1"/>
            </a:p>
          </p:txBody>
        </p:sp>
        <p:sp>
          <p:nvSpPr>
            <p:cNvPr id="58404" name="Rectangle 207">
              <a:extLst>
                <a:ext uri="{FF2B5EF4-FFF2-40B4-BE49-F238E27FC236}">
                  <a16:creationId xmlns:a16="http://schemas.microsoft.com/office/drawing/2014/main" id="{CBC18789-AA7D-4E4D-AABD-4163F5BE83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038" y="1760682"/>
              <a:ext cx="307975" cy="130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900" b="1">
                  <a:solidFill>
                    <a:srgbClr val="000000"/>
                  </a:solidFill>
                  <a:latin typeface="Verdana" panose="020B0604030504040204" pitchFamily="34" charset="0"/>
                </a:rPr>
                <a:t>60%</a:t>
              </a:r>
              <a:endParaRPr lang="en-US" altLang="en-US" sz="900" b="1"/>
            </a:p>
          </p:txBody>
        </p:sp>
        <p:sp>
          <p:nvSpPr>
            <p:cNvPr id="58405" name="Line 208">
              <a:extLst>
                <a:ext uri="{FF2B5EF4-FFF2-40B4-BE49-F238E27FC236}">
                  <a16:creationId xmlns:a16="http://schemas.microsoft.com/office/drawing/2014/main" id="{1D23532D-66A2-4BFE-A59F-6C918D7541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1100" y="5954929"/>
              <a:ext cx="6897688" cy="1514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406" name="Rectangle 669">
              <a:extLst>
                <a:ext uri="{FF2B5EF4-FFF2-40B4-BE49-F238E27FC236}">
                  <a16:creationId xmlns:a16="http://schemas.microsoft.com/office/drawing/2014/main" id="{81F09AF2-59CA-4382-9EB5-AF9D58B06DE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V="1">
              <a:off x="-140602" y="3594154"/>
              <a:ext cx="1589304" cy="30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400" b="1">
                  <a:solidFill>
                    <a:srgbClr val="000000"/>
                  </a:solidFill>
                  <a:latin typeface="Tw Cen MT" panose="020B0602020104020603" pitchFamily="34" charset="0"/>
                </a:rPr>
                <a:t>Cure Rate </a:t>
              </a:r>
              <a:r>
                <a:rPr lang="en-US" altLang="en-US" sz="800" b="1">
                  <a:solidFill>
                    <a:srgbClr val="000000"/>
                  </a:solidFill>
                  <a:latin typeface="Tw Cen MT" panose="020B0602020104020603" pitchFamily="34" charset="0"/>
                </a:rPr>
                <a:t>(% of Users)</a:t>
              </a:r>
            </a:p>
          </p:txBody>
        </p:sp>
        <p:sp>
          <p:nvSpPr>
            <p:cNvPr id="58407" name="Rectangle 238">
              <a:extLst>
                <a:ext uri="{FF2B5EF4-FFF2-40B4-BE49-F238E27FC236}">
                  <a16:creationId xmlns:a16="http://schemas.microsoft.com/office/drawing/2014/main" id="{4A9278BA-26DB-4DE7-A065-94BC0D6EBB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6043" y="2378682"/>
              <a:ext cx="307319" cy="20461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200" b="1">
                  <a:solidFill>
                    <a:schemeClr val="bg1"/>
                  </a:solidFill>
                  <a:latin typeface="Verdana" panose="020B0604030504040204" pitchFamily="34" charset="0"/>
                </a:rPr>
                <a:t>8%</a:t>
              </a:r>
              <a:endParaRPr lang="en-US" alt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58408" name="Rectangle 239">
              <a:extLst>
                <a:ext uri="{FF2B5EF4-FFF2-40B4-BE49-F238E27FC236}">
                  <a16:creationId xmlns:a16="http://schemas.microsoft.com/office/drawing/2014/main" id="{6FBC8B46-C917-448E-BC1E-4CEEED2BEA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0191" y="2888796"/>
              <a:ext cx="307319" cy="20461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200" b="1">
                  <a:solidFill>
                    <a:schemeClr val="bg1"/>
                  </a:solidFill>
                  <a:latin typeface="Verdana" panose="020B0604030504040204" pitchFamily="34" charset="0"/>
                </a:rPr>
                <a:t>7%</a:t>
              </a:r>
              <a:endParaRPr lang="en-US" alt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58409" name="Rectangle 240">
              <a:extLst>
                <a:ext uri="{FF2B5EF4-FFF2-40B4-BE49-F238E27FC236}">
                  <a16:creationId xmlns:a16="http://schemas.microsoft.com/office/drawing/2014/main" id="{E6F5BBCD-8C12-4145-9B41-81804F247E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7913" y="3331390"/>
              <a:ext cx="30457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200" b="1">
                  <a:solidFill>
                    <a:schemeClr val="bg1"/>
                  </a:solidFill>
                  <a:latin typeface="Verdana" panose="020B0604030504040204" pitchFamily="34" charset="0"/>
                </a:rPr>
                <a:t>6%</a:t>
              </a:r>
              <a:endParaRPr lang="en-US" alt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58410" name="Rectangle 241">
              <a:extLst>
                <a:ext uri="{FF2B5EF4-FFF2-40B4-BE49-F238E27FC236}">
                  <a16:creationId xmlns:a16="http://schemas.microsoft.com/office/drawing/2014/main" id="{A8B7BBEE-CD33-4E74-A815-8C4616F011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9671" y="3793939"/>
              <a:ext cx="304571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200" b="1">
                  <a:solidFill>
                    <a:schemeClr val="bg1"/>
                  </a:solidFill>
                  <a:latin typeface="Verdana" panose="020B0604030504040204" pitchFamily="34" charset="0"/>
                </a:rPr>
                <a:t>8%</a:t>
              </a:r>
              <a:endParaRPr lang="en-US" alt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58411" name="Rectangle 242">
              <a:extLst>
                <a:ext uri="{FF2B5EF4-FFF2-40B4-BE49-F238E27FC236}">
                  <a16:creationId xmlns:a16="http://schemas.microsoft.com/office/drawing/2014/main" id="{3B99A0C0-458C-49C1-BE55-8C3573058A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3612" y="4901439"/>
              <a:ext cx="41357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200" b="1">
                  <a:solidFill>
                    <a:schemeClr val="bg1"/>
                  </a:solidFill>
                  <a:latin typeface="Verdana" panose="020B0604030504040204" pitchFamily="34" charset="0"/>
                </a:rPr>
                <a:t>25%</a:t>
              </a:r>
              <a:endParaRPr lang="en-US" altLang="en-US" sz="1200" b="1">
                <a:solidFill>
                  <a:schemeClr val="bg1"/>
                </a:solidFill>
              </a:endParaRPr>
            </a:p>
          </p:txBody>
        </p:sp>
        <p:sp>
          <p:nvSpPr>
            <p:cNvPr id="58412" name="Rectangle 243">
              <a:extLst>
                <a:ext uri="{FF2B5EF4-FFF2-40B4-BE49-F238E27FC236}">
                  <a16:creationId xmlns:a16="http://schemas.microsoft.com/office/drawing/2014/main" id="{7E873822-B1E0-4A32-A256-B0001E538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8159" y="3819420"/>
              <a:ext cx="55303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600" b="1">
                  <a:solidFill>
                    <a:schemeClr val="bg1"/>
                  </a:solidFill>
                  <a:latin typeface="Verdana" panose="020B0604030504040204" pitchFamily="34" charset="0"/>
                </a:rPr>
                <a:t>54%</a:t>
              </a:r>
              <a:endParaRPr lang="en-US" altLang="en-US" sz="1600" b="1">
                <a:solidFill>
                  <a:schemeClr val="bg1"/>
                </a:solidFill>
              </a:endParaRPr>
            </a:p>
          </p:txBody>
        </p:sp>
        <p:sp>
          <p:nvSpPr>
            <p:cNvPr id="58413" name="Line 244">
              <a:extLst>
                <a:ext uri="{FF2B5EF4-FFF2-40B4-BE49-F238E27FC236}">
                  <a16:creationId xmlns:a16="http://schemas.microsoft.com/office/drawing/2014/main" id="{40AA41DB-62CF-4C3F-A2B1-CED4473A4B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65375" y="4131014"/>
              <a:ext cx="587375" cy="908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414" name="Line 245">
              <a:extLst>
                <a:ext uri="{FF2B5EF4-FFF2-40B4-BE49-F238E27FC236}">
                  <a16:creationId xmlns:a16="http://schemas.microsoft.com/office/drawing/2014/main" id="{9B3ED384-6153-4CC7-BC06-79D144B49B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14713" y="3616383"/>
              <a:ext cx="590550" cy="1816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415" name="Line 246">
              <a:extLst>
                <a:ext uri="{FF2B5EF4-FFF2-40B4-BE49-F238E27FC236}">
                  <a16:creationId xmlns:a16="http://schemas.microsoft.com/office/drawing/2014/main" id="{16AD0050-B574-481B-8DAC-DDD4649924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7225" y="3207705"/>
              <a:ext cx="574675" cy="151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416" name="Line 247">
              <a:extLst>
                <a:ext uri="{FF2B5EF4-FFF2-40B4-BE49-F238E27FC236}">
                  <a16:creationId xmlns:a16="http://schemas.microsoft.com/office/drawing/2014/main" id="{EA0CE961-B21E-41DB-B3C4-B51C9691A8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507038" y="2724859"/>
              <a:ext cx="587375" cy="605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417" name="Line 248">
              <a:extLst>
                <a:ext uri="{FF2B5EF4-FFF2-40B4-BE49-F238E27FC236}">
                  <a16:creationId xmlns:a16="http://schemas.microsoft.com/office/drawing/2014/main" id="{42C7489C-711D-4A57-A4E1-B2556EA837C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559550" y="2186009"/>
              <a:ext cx="592138" cy="151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2BE81FB-C7DB-40A1-A0EF-BB6FD693811E}"/>
                </a:ext>
              </a:extLst>
            </p:cNvPr>
            <p:cNvSpPr txBox="1"/>
            <p:nvPr/>
          </p:nvSpPr>
          <p:spPr>
            <a:xfrm>
              <a:off x="3374604" y="4303505"/>
              <a:ext cx="3118758" cy="579744"/>
            </a:xfrm>
            <a:prstGeom prst="rect">
              <a:avLst/>
            </a:prstGeom>
            <a:noFill/>
          </p:spPr>
          <p:txBody>
            <a:bodyPr>
              <a:spAutoFit/>
              <a:scene3d>
                <a:camera prst="orthographicFront"/>
                <a:lightRig rig="threePt" dir="t"/>
              </a:scene3d>
              <a:sp3d extrusionH="57150">
                <a:bevelT w="38100" h="38100"/>
              </a:sp3d>
            </a:bodyPr>
            <a:lstStyle/>
            <a:p>
              <a:pPr algn="ctr" eaLnBrk="1" hangingPunct="1">
                <a:defRPr/>
              </a:pPr>
              <a:r>
                <a:rPr lang="en-US" sz="1400" b="1" dirty="0">
                  <a:latin typeface="+mn-lt"/>
                  <a:ea typeface="ＭＳ Ｐゴシック" pitchFamily="-72" charset="-128"/>
                  <a:cs typeface="ＭＳ Ｐゴシック" pitchFamily="-72" charset="-128"/>
                </a:rPr>
                <a:t>GOGO BAND is expected to double</a:t>
              </a:r>
            </a:p>
            <a:p>
              <a:pPr algn="ctr" eaLnBrk="1" hangingPunct="1">
                <a:defRPr/>
              </a:pPr>
              <a:r>
                <a:rPr lang="en-US" sz="1400" b="1" dirty="0">
                  <a:latin typeface="+mn-lt"/>
                  <a:ea typeface="ＭＳ Ｐゴシック" pitchFamily="-72" charset="-128"/>
                  <a:cs typeface="ＭＳ Ｐゴシック" pitchFamily="-72" charset="-128"/>
                </a:rPr>
                <a:t>the efficacy of existing enuretic alarms</a:t>
              </a:r>
            </a:p>
          </p:txBody>
        </p:sp>
        <p:sp>
          <p:nvSpPr>
            <p:cNvPr id="5336" name="Rectangle 216">
              <a:extLst>
                <a:ext uri="{FF2B5EF4-FFF2-40B4-BE49-F238E27FC236}">
                  <a16:creationId xmlns:a16="http://schemas.microsoft.com/office/drawing/2014/main" id="{5718AFDF-1BBE-4372-86DA-9D22FD061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6488" y="5997235"/>
              <a:ext cx="1281534" cy="3693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+mn-lt"/>
                  <a:ea typeface="ＭＳ Ｐゴシック" pitchFamily="-72" charset="-128"/>
                  <a:cs typeface="ＭＳ Ｐゴシック" pitchFamily="-72" charset="-128"/>
                </a:rPr>
                <a:t>Current</a:t>
              </a:r>
              <a:r>
                <a:rPr lang="en-US" sz="1050" b="1">
                  <a:solidFill>
                    <a:srgbClr val="000000"/>
                  </a:solidFill>
                  <a:latin typeface="+mn-lt"/>
                  <a:ea typeface="ＭＳ Ｐゴシック" pitchFamily="-72" charset="-128"/>
                  <a:cs typeface="ＭＳ Ｐゴシック" pitchFamily="-72" charset="-128"/>
                </a:rPr>
                <a:t> </a:t>
              </a:r>
            </a:p>
            <a:p>
              <a:pPr algn="ctr" eaLnBrk="1" hangingPunct="1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+mn-lt"/>
                  <a:ea typeface="ＭＳ Ｐゴシック" pitchFamily="-72" charset="-128"/>
                  <a:cs typeface="ＭＳ Ｐゴシック" pitchFamily="-72" charset="-128"/>
                </a:rPr>
                <a:t>Enuresis Alarms</a:t>
              </a:r>
              <a:endParaRPr lang="en-US" sz="1200" dirty="0">
                <a:latin typeface="+mn-lt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5356" name="Rectangle 236">
              <a:extLst>
                <a:ext uri="{FF2B5EF4-FFF2-40B4-BE49-F238E27FC236}">
                  <a16:creationId xmlns:a16="http://schemas.microsoft.com/office/drawing/2014/main" id="{7E103F3F-F07A-48A9-938F-EC192CE7AF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3700" y="3147898"/>
              <a:ext cx="796153" cy="307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defRPr/>
              </a:pPr>
              <a:r>
                <a:rPr lang="en-US" sz="1000" b="1" dirty="0">
                  <a:solidFill>
                    <a:srgbClr val="000000"/>
                  </a:solidFill>
                  <a:latin typeface="+mn-lt"/>
                  <a:ea typeface="ＭＳ Ｐゴシック" pitchFamily="-72" charset="-128"/>
                  <a:cs typeface="ＭＳ Ｐゴシック" pitchFamily="-72" charset="-128"/>
                </a:rPr>
                <a:t>Higher Adoption Rate</a:t>
              </a:r>
              <a:endParaRPr lang="en-US" sz="2400" dirty="0">
                <a:latin typeface="+mn-lt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5352" name="Rectangle 232">
              <a:extLst>
                <a:ext uri="{FF2B5EF4-FFF2-40B4-BE49-F238E27FC236}">
                  <a16:creationId xmlns:a16="http://schemas.microsoft.com/office/drawing/2014/main" id="{3A7F1E3D-A963-4C45-B0F4-B1B0C943E6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6160" y="2732810"/>
              <a:ext cx="760910" cy="307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defRPr/>
              </a:pPr>
              <a:r>
                <a:rPr lang="en-US" sz="1000" b="1" dirty="0">
                  <a:solidFill>
                    <a:srgbClr val="000000"/>
                  </a:solidFill>
                  <a:latin typeface="+mn-lt"/>
                  <a:ea typeface="ＭＳ Ｐゴシック" pitchFamily="-72" charset="-128"/>
                  <a:cs typeface="ＭＳ Ｐゴシック" pitchFamily="-72" charset="-128"/>
                </a:rPr>
                <a:t>Virtual </a:t>
              </a:r>
            </a:p>
            <a:p>
              <a:pPr algn="ctr" eaLnBrk="1" hangingPunct="1">
                <a:defRPr/>
              </a:pPr>
              <a:r>
                <a:rPr lang="en-US" sz="1000" b="1" dirty="0">
                  <a:solidFill>
                    <a:srgbClr val="000000"/>
                  </a:solidFill>
                  <a:latin typeface="+mn-lt"/>
                  <a:ea typeface="ＭＳ Ｐゴシック" pitchFamily="-72" charset="-128"/>
                  <a:cs typeface="ＭＳ Ｐゴシック" pitchFamily="-72" charset="-128"/>
                </a:rPr>
                <a:t>Coach Impact</a:t>
              </a:r>
              <a:endParaRPr lang="en-US" sz="2400" dirty="0">
                <a:latin typeface="+mn-lt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5353" name="Rectangle 233">
              <a:extLst>
                <a:ext uri="{FF2B5EF4-FFF2-40B4-BE49-F238E27FC236}">
                  <a16:creationId xmlns:a16="http://schemas.microsoft.com/office/drawing/2014/main" id="{5910E3AE-D1E7-49E6-B962-35FD9751B1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0562" y="2247367"/>
              <a:ext cx="816978" cy="307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defRPr/>
              </a:pPr>
              <a:r>
                <a:rPr lang="en-US" sz="1000" b="1" dirty="0">
                  <a:solidFill>
                    <a:srgbClr val="000000"/>
                  </a:solidFill>
                  <a:latin typeface="+mn-lt"/>
                  <a:ea typeface="ＭＳ Ｐゴシック" pitchFamily="-72" charset="-128"/>
                  <a:cs typeface="ＭＳ Ｐゴシック" pitchFamily="-72" charset="-128"/>
                </a:rPr>
                <a:t>Deeper Conditioning</a:t>
              </a:r>
              <a:endParaRPr lang="en-US" sz="2400" dirty="0">
                <a:latin typeface="+mn-lt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5354" name="Rectangle 234">
              <a:extLst>
                <a:ext uri="{FF2B5EF4-FFF2-40B4-BE49-F238E27FC236}">
                  <a16:creationId xmlns:a16="http://schemas.microsoft.com/office/drawing/2014/main" id="{7DE3725F-A3DF-41A5-AECD-620B3DF54E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5060" y="1709159"/>
              <a:ext cx="764114" cy="3077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1" hangingPunct="1">
                <a:defRPr/>
              </a:pPr>
              <a:r>
                <a:rPr lang="en-US" sz="1000" b="1" dirty="0">
                  <a:solidFill>
                    <a:srgbClr val="000000"/>
                  </a:solidFill>
                  <a:latin typeface="+mn-lt"/>
                  <a:ea typeface="ＭＳ Ｐゴシック" pitchFamily="-72" charset="-128"/>
                  <a:cs typeface="ＭＳ Ｐゴシック" pitchFamily="-72" charset="-128"/>
                </a:rPr>
                <a:t>Lower Relapse Rate</a:t>
              </a:r>
              <a:endParaRPr lang="en-US" sz="2400" dirty="0">
                <a:latin typeface="+mn-lt"/>
                <a:ea typeface="ＭＳ Ｐゴシック" pitchFamily="-72" charset="-128"/>
                <a:cs typeface="ＭＳ Ｐゴシック" pitchFamily="-72" charset="-128"/>
              </a:endParaRPr>
            </a:p>
          </p:txBody>
        </p:sp>
      </p:grpSp>
      <p:sp>
        <p:nvSpPr>
          <p:cNvPr id="68" name="TextBox 7">
            <a:extLst>
              <a:ext uri="{FF2B5EF4-FFF2-40B4-BE49-F238E27FC236}">
                <a16:creationId xmlns:a16="http://schemas.microsoft.com/office/drawing/2014/main" id="{092D05D7-B1A7-4C0C-9257-3F8AF3E453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The GOGO BAND Impact</a:t>
            </a:r>
          </a:p>
        </p:txBody>
      </p:sp>
      <p:pic>
        <p:nvPicPr>
          <p:cNvPr id="58372" name="Picture 68">
            <a:extLst>
              <a:ext uri="{FF2B5EF4-FFF2-40B4-BE49-F238E27FC236}">
                <a16:creationId xmlns:a16="http://schemas.microsoft.com/office/drawing/2014/main" id="{38A0120B-2D4D-4C03-8631-B70F651111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Footer Placeholder 3">
            <a:extLst>
              <a:ext uri="{FF2B5EF4-FFF2-40B4-BE49-F238E27FC236}">
                <a16:creationId xmlns:a16="http://schemas.microsoft.com/office/drawing/2014/main" id="{B8F1A105-4C02-4954-8E5B-FB8E32EF1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71" name="Slide Number Placeholder 5">
            <a:extLst>
              <a:ext uri="{FF2B5EF4-FFF2-40B4-BE49-F238E27FC236}">
                <a16:creationId xmlns:a16="http://schemas.microsoft.com/office/drawing/2014/main" id="{8E4EF394-FCAC-4AB8-9157-7B1088E482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29F64B3B-7002-45A0-A662-4E254B53303C}" type="slidenum">
              <a:rPr lang="en-US" sz="950" b="1"/>
              <a:pPr>
                <a:defRPr/>
              </a:pPr>
              <a:t>18</a:t>
            </a:fld>
            <a:endParaRPr lang="en-US" sz="950" b="1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870609F-BEA9-447A-BCE2-48C0D04FBE65}"/>
              </a:ext>
            </a:extLst>
          </p:cNvPr>
          <p:cNvSpPr/>
          <p:nvPr/>
        </p:nvSpPr>
        <p:spPr>
          <a:xfrm>
            <a:off x="0" y="5743575"/>
            <a:ext cx="9144000" cy="8382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500" b="1" dirty="0">
                <a:solidFill>
                  <a:srgbClr val="2F5DC3"/>
                </a:solidFill>
              </a:rPr>
              <a:t>Repeating the cycle of prediction, identification and notification will condition</a:t>
            </a:r>
          </a:p>
          <a:p>
            <a:pPr algn="ctr" eaLnBrk="1" hangingPunct="1">
              <a:defRPr/>
            </a:pPr>
            <a:r>
              <a:rPr lang="en-US" sz="1500" b="1" dirty="0">
                <a:solidFill>
                  <a:srgbClr val="2F5DC3"/>
                </a:solidFill>
              </a:rPr>
              <a:t>a child’s brain to finally recognize the “lost” bladder full signal within a 1-6 month period.</a:t>
            </a:r>
          </a:p>
        </p:txBody>
      </p:sp>
      <p:pic>
        <p:nvPicPr>
          <p:cNvPr id="58376" name="Picture 72">
            <a:extLst>
              <a:ext uri="{FF2B5EF4-FFF2-40B4-BE49-F238E27FC236}">
                <a16:creationId xmlns:a16="http://schemas.microsoft.com/office/drawing/2014/main" id="{4203321F-AE8B-45BB-909A-58407B676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6881813" y="5414963"/>
            <a:ext cx="1414462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7">
            <a:extLst>
              <a:ext uri="{FF2B5EF4-FFF2-40B4-BE49-F238E27FC236}">
                <a16:creationId xmlns:a16="http://schemas.microsoft.com/office/drawing/2014/main" id="{7BF647A2-D861-43B0-A1C9-95C86E8088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Market Strategy – Focus Groups</a:t>
            </a:r>
          </a:p>
        </p:txBody>
      </p:sp>
      <p:pic>
        <p:nvPicPr>
          <p:cNvPr id="60419" name="Picture 25">
            <a:extLst>
              <a:ext uri="{FF2B5EF4-FFF2-40B4-BE49-F238E27FC236}">
                <a16:creationId xmlns:a16="http://schemas.microsoft.com/office/drawing/2014/main" id="{4BA6251F-45F6-4DB6-A930-DFB067B698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Footer Placeholder 3">
            <a:extLst>
              <a:ext uri="{FF2B5EF4-FFF2-40B4-BE49-F238E27FC236}">
                <a16:creationId xmlns:a16="http://schemas.microsoft.com/office/drawing/2014/main" id="{D6F6EA0A-6C60-4A45-854E-843FD80D4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FA750912-966C-4CF9-9846-41D9DDBD42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1D1C1B9A-E3A1-469E-BD25-364D69C88F1B}" type="slidenum">
              <a:rPr lang="en-US" sz="950" b="1"/>
              <a:pPr>
                <a:defRPr/>
              </a:pPr>
              <a:t>19</a:t>
            </a:fld>
            <a:endParaRPr lang="en-US" sz="950" b="1" dirty="0"/>
          </a:p>
        </p:txBody>
      </p:sp>
      <p:sp>
        <p:nvSpPr>
          <p:cNvPr id="60422" name="TextBox 2">
            <a:extLst>
              <a:ext uri="{FF2B5EF4-FFF2-40B4-BE49-F238E27FC236}">
                <a16:creationId xmlns:a16="http://schemas.microsoft.com/office/drawing/2014/main" id="{7D86EBE9-3391-42CC-9B1F-D007F9780D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147763"/>
            <a:ext cx="9144000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600" b="1" i="1">
                <a:solidFill>
                  <a:srgbClr val="0070C0"/>
                </a:solidFill>
              </a:rPr>
              <a:t>Based on independent third party focus group </a:t>
            </a:r>
          </a:p>
          <a:p>
            <a:pPr algn="ctr" eaLnBrk="1" hangingPunct="1"/>
            <a:r>
              <a:rPr lang="en-US" altLang="en-US" sz="1600" b="1" i="1">
                <a:solidFill>
                  <a:srgbClr val="0070C0"/>
                </a:solidFill>
              </a:rPr>
              <a:t>insights from parents of children with PE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A1C5DA45-2133-4C89-89B6-8AA88D931529}"/>
              </a:ext>
            </a:extLst>
          </p:cNvPr>
          <p:cNvGraphicFramePr/>
          <p:nvPr/>
        </p:nvGraphicFramePr>
        <p:xfrm>
          <a:off x="1399443" y="1912978"/>
          <a:ext cx="6345114" cy="42069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Footer Placeholder 3">
            <a:extLst>
              <a:ext uri="{FF2B5EF4-FFF2-40B4-BE49-F238E27FC236}">
                <a16:creationId xmlns:a16="http://schemas.microsoft.com/office/drawing/2014/main" id="{820059D0-D326-49D8-B5B9-94FB1904D6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0" y="6489700"/>
            <a:ext cx="5005388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pic>
        <p:nvPicPr>
          <p:cNvPr id="23555" name="Picture 8">
            <a:extLst>
              <a:ext uri="{FF2B5EF4-FFF2-40B4-BE49-F238E27FC236}">
                <a16:creationId xmlns:a16="http://schemas.microsoft.com/office/drawing/2014/main" id="{DFAB45E5-F379-4862-8BBD-8DF56E8475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F442493-12FB-45B2-933F-6B3A181F6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36574AA0-996D-40CD-8453-BA035FA6C8E8}" type="slidenum">
              <a:rPr lang="en-US" sz="950" b="1"/>
              <a:pPr>
                <a:defRPr/>
              </a:pPr>
              <a:t>2</a:t>
            </a:fld>
            <a:endParaRPr lang="en-US" sz="95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537964-B7D4-483B-AC73-5DD2F6C09D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55763" y="2076450"/>
            <a:ext cx="5832475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lvl="1" algn="ctr" eaLnBrk="1" hangingPunct="1">
              <a:spcAft>
                <a:spcPts val="450"/>
              </a:spcAft>
              <a:defRPr/>
            </a:pPr>
            <a:r>
              <a:rPr lang="en-US" sz="3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300+ million worldwide</a:t>
            </a:r>
          </a:p>
          <a:p>
            <a:pPr marL="0" lvl="1" algn="ctr" eaLnBrk="1" hangingPunct="1">
              <a:spcAft>
                <a:spcPts val="450"/>
              </a:spcAft>
              <a:defRPr/>
            </a:pPr>
            <a:r>
              <a:rPr lang="en-US" sz="3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suffer from Pediatric Enuresis</a:t>
            </a:r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6B2B1F0E-AC54-4EA4-BB0E-E0FD60DB54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55763" y="3740150"/>
            <a:ext cx="5832475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lvl="1" algn="ctr" eaLnBrk="1" hangingPunct="1">
              <a:spcAft>
                <a:spcPts val="450"/>
              </a:spcAft>
              <a:defRPr/>
            </a:pPr>
            <a:r>
              <a:rPr lang="en-US" sz="3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Families spend more than</a:t>
            </a:r>
          </a:p>
          <a:p>
            <a:pPr marL="0" lvl="1" algn="ctr" eaLnBrk="1" hangingPunct="1">
              <a:spcAft>
                <a:spcPts val="450"/>
              </a:spcAft>
              <a:defRPr/>
            </a:pPr>
            <a:r>
              <a:rPr lang="en-US" sz="3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$4.2B annually in the USA</a:t>
            </a:r>
          </a:p>
        </p:txBody>
      </p:sp>
      <p:grpSp>
        <p:nvGrpSpPr>
          <p:cNvPr id="23559" name="Group 12">
            <a:extLst>
              <a:ext uri="{FF2B5EF4-FFF2-40B4-BE49-F238E27FC236}">
                <a16:creationId xmlns:a16="http://schemas.microsoft.com/office/drawing/2014/main" id="{65DA1200-0110-4829-B3D6-27DB13E2B2E7}"/>
              </a:ext>
            </a:extLst>
          </p:cNvPr>
          <p:cNvGrpSpPr>
            <a:grpSpLocks/>
          </p:cNvGrpSpPr>
          <p:nvPr/>
        </p:nvGrpSpPr>
        <p:grpSpPr bwMode="auto">
          <a:xfrm>
            <a:off x="2446338" y="3243263"/>
            <a:ext cx="4251325" cy="496887"/>
            <a:chOff x="-65066" y="4930431"/>
            <a:chExt cx="7008126" cy="1821506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4242A7F-4C7E-4814-9EFE-3853C84A7A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-65066" y="5597978"/>
              <a:ext cx="1273968" cy="611281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51B2E60-B444-4778-9CF6-7FF48D633B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62539" y="5302296"/>
              <a:ext cx="1273968" cy="1187571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0C9A77F-0C55-4EA1-B953-35D3BFA108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190993" y="5579537"/>
              <a:ext cx="1273968" cy="611281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8763EB5-A602-4EA4-9A1D-994F1E464EC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317086" y="5454777"/>
              <a:ext cx="1307007" cy="832562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0996D005-142C-428E-96BA-DAFAD9E7FCB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636054" y="5557296"/>
              <a:ext cx="1307006" cy="607856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B3BE83E2-7985-41B0-978E-18E025E6D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493090" y="4930431"/>
              <a:ext cx="1273968" cy="1821506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extBox 7">
            <a:extLst>
              <a:ext uri="{FF2B5EF4-FFF2-40B4-BE49-F238E27FC236}">
                <a16:creationId xmlns:a16="http://schemas.microsoft.com/office/drawing/2014/main" id="{6671CC7E-92E9-4D3F-8DC8-660341E7DB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en-US" altLang="en-US" sz="2800" b="1">
                <a:solidFill>
                  <a:srgbClr val="262626"/>
                </a:solidFill>
                <a:latin typeface="Century Gothic" panose="020B0502020202020204" pitchFamily="34" charset="0"/>
              </a:rPr>
              <a:t>Market Strategy – Focus Groups</a:t>
            </a:r>
          </a:p>
        </p:txBody>
      </p:sp>
      <p:pic>
        <p:nvPicPr>
          <p:cNvPr id="62467" name="Picture 25">
            <a:extLst>
              <a:ext uri="{FF2B5EF4-FFF2-40B4-BE49-F238E27FC236}">
                <a16:creationId xmlns:a16="http://schemas.microsoft.com/office/drawing/2014/main" id="{29B8BF36-EEC1-42B0-A8DB-F08B5CF8BF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468" name="Footer Placeholder 3">
            <a:extLst>
              <a:ext uri="{FF2B5EF4-FFF2-40B4-BE49-F238E27FC236}">
                <a16:creationId xmlns:a16="http://schemas.microsoft.com/office/drawing/2014/main" id="{3183F6BF-63DB-4EAC-9CFA-372ADFE53B9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0" y="6489700"/>
            <a:ext cx="5005388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US" altLang="en-US" sz="800">
                <a:solidFill>
                  <a:srgbClr val="000000"/>
                </a:solidFill>
                <a:latin typeface="Tw Cen MT" panose="020B0602020104020603" pitchFamily="34" charset="0"/>
              </a:rPr>
              <a:t>GOGO BAND Proprietary and Confidential – March 2017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2A95CFDF-CE75-4F4B-9AA5-B73B6F1D44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EE39C85F-6EC4-47C3-8A0B-EEDB5DF6A20D}" type="slidenum">
              <a:rPr lang="en-US" sz="950" b="1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n-US" sz="950" b="1" dirty="0">
              <a:solidFill>
                <a:prstClr val="black"/>
              </a:solidFill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08643F50-6994-4842-9418-D885FA005E76}"/>
              </a:ext>
            </a:extLst>
          </p:cNvPr>
          <p:cNvGraphicFramePr/>
          <p:nvPr/>
        </p:nvGraphicFramePr>
        <p:xfrm>
          <a:off x="1526177" y="1314411"/>
          <a:ext cx="6563586" cy="49387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FD939F2-2026-4E16-8AA7-48AD00DCF6FE}"/>
              </a:ext>
            </a:extLst>
          </p:cNvPr>
          <p:cNvSpPr/>
          <p:nvPr/>
        </p:nvSpPr>
        <p:spPr>
          <a:xfrm>
            <a:off x="637309" y="1687372"/>
            <a:ext cx="1990714" cy="1469208"/>
          </a:xfrm>
          <a:prstGeom prst="round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eaLnBrk="1" hangingPunct="1">
              <a:defRPr/>
            </a:pPr>
            <a:endParaRPr lang="en-US" b="1" dirty="0">
              <a:solidFill>
                <a:prstClr val="white"/>
              </a:solidFill>
            </a:endParaRPr>
          </a:p>
          <a:p>
            <a:pPr algn="ctr" defTabSz="685800" eaLnBrk="1" hangingPunct="1">
              <a:defRPr/>
            </a:pPr>
            <a:r>
              <a:rPr lang="en-US" b="1" dirty="0">
                <a:solidFill>
                  <a:prstClr val="white"/>
                </a:solidFill>
              </a:rPr>
              <a:t>Online</a:t>
            </a:r>
          </a:p>
          <a:p>
            <a:pPr algn="ctr" defTabSz="685800" eaLnBrk="1" hangingPunct="1">
              <a:defRPr/>
            </a:pPr>
            <a:r>
              <a:rPr lang="en-US" dirty="0">
                <a:solidFill>
                  <a:prstClr val="white"/>
                </a:solidFill>
              </a:rPr>
              <a:t>&amp;</a:t>
            </a:r>
          </a:p>
          <a:p>
            <a:pPr algn="ctr" defTabSz="685800" eaLnBrk="1" hangingPunct="1">
              <a:defRPr/>
            </a:pPr>
            <a:r>
              <a:rPr lang="en-US" b="1" dirty="0">
                <a:solidFill>
                  <a:prstClr val="white"/>
                </a:solidFill>
              </a:rPr>
              <a:t>Direct</a:t>
            </a:r>
          </a:p>
          <a:p>
            <a:pPr algn="ctr" defTabSz="685800" eaLnBrk="1" hangingPunct="1">
              <a:defRPr/>
            </a:pPr>
            <a:r>
              <a:rPr lang="en-US" sz="1200" dirty="0">
                <a:solidFill>
                  <a:prstClr val="white"/>
                </a:solidFill>
              </a:rPr>
              <a:t>(100K daily searches)</a:t>
            </a:r>
          </a:p>
          <a:p>
            <a:pPr algn="ctr" defTabSz="685800" eaLnBrk="1" hangingPunct="1">
              <a:defRPr/>
            </a:pP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AC75E95-F29C-4E50-9B73-AB998C1E7A75}"/>
              </a:ext>
            </a:extLst>
          </p:cNvPr>
          <p:cNvSpPr/>
          <p:nvPr/>
        </p:nvSpPr>
        <p:spPr>
          <a:xfrm>
            <a:off x="3123253" y="3459846"/>
            <a:ext cx="2100881" cy="1469208"/>
          </a:xfrm>
          <a:prstGeom prst="roundRect">
            <a:avLst/>
          </a:prstGeom>
          <a:solidFill>
            <a:srgbClr val="B1C47A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14313" indent="-137160" eaLnBrk="1" hangingPunct="1">
              <a:buFontTx/>
              <a:buBlip>
                <a:blip r:embed="rId3"/>
              </a:buBlip>
              <a:defRPr/>
            </a:pPr>
            <a:r>
              <a:rPr lang="en-US" dirty="0">
                <a:solidFill>
                  <a:prstClr val="white"/>
                </a:solidFill>
              </a:rPr>
              <a:t>Direct Sales</a:t>
            </a:r>
          </a:p>
          <a:p>
            <a:pPr marL="214313" indent="-137160" eaLnBrk="1" hangingPunct="1">
              <a:buFontTx/>
              <a:buBlip>
                <a:blip r:embed="rId3"/>
              </a:buBlip>
              <a:defRPr/>
            </a:pPr>
            <a:r>
              <a:rPr lang="en-US" dirty="0">
                <a:solidFill>
                  <a:prstClr val="white"/>
                </a:solidFill>
              </a:rPr>
              <a:t>Conferences</a:t>
            </a:r>
          </a:p>
          <a:p>
            <a:pPr marL="214313" indent="-137160" eaLnBrk="1" hangingPunct="1">
              <a:buFontTx/>
              <a:buBlip>
                <a:blip r:embed="rId3"/>
              </a:buBlip>
              <a:defRPr/>
            </a:pPr>
            <a:r>
              <a:rPr lang="en-US" dirty="0">
                <a:solidFill>
                  <a:prstClr val="white"/>
                </a:solidFill>
              </a:rPr>
              <a:t>White Papers</a:t>
            </a:r>
          </a:p>
          <a:p>
            <a:pPr marL="214313" indent="-137160" eaLnBrk="1" hangingPunct="1">
              <a:buFontTx/>
              <a:buBlip>
                <a:blip r:embed="rId3"/>
              </a:buBlip>
              <a:defRPr/>
            </a:pPr>
            <a:r>
              <a:rPr lang="en-US" dirty="0">
                <a:solidFill>
                  <a:prstClr val="white"/>
                </a:solidFill>
              </a:rPr>
              <a:t>Journal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E82ED60-3FC7-4C4F-A19D-B42173CD55A0}"/>
              </a:ext>
            </a:extLst>
          </p:cNvPr>
          <p:cNvSpPr/>
          <p:nvPr/>
        </p:nvSpPr>
        <p:spPr>
          <a:xfrm>
            <a:off x="3123253" y="1687372"/>
            <a:ext cx="2100881" cy="1469208"/>
          </a:xfrm>
          <a:prstGeom prst="roundRect">
            <a:avLst/>
          </a:prstGeom>
          <a:solidFill>
            <a:srgbClr val="B1C47A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12598" indent="-137160" eaLnBrk="1" hangingPunct="1">
              <a:buFontTx/>
              <a:buBlip>
                <a:blip r:embed="rId3"/>
              </a:buBlip>
              <a:defRPr/>
            </a:pPr>
            <a:r>
              <a:rPr lang="en-US" dirty="0">
                <a:solidFill>
                  <a:prstClr val="white"/>
                </a:solidFill>
              </a:rPr>
              <a:t>Medical Sites</a:t>
            </a:r>
          </a:p>
          <a:p>
            <a:pPr marL="212598" indent="-137160" eaLnBrk="1" hangingPunct="1">
              <a:buFontTx/>
              <a:buBlip>
                <a:blip r:embed="rId3"/>
              </a:buBlip>
              <a:defRPr/>
            </a:pPr>
            <a:r>
              <a:rPr lang="en-US" dirty="0">
                <a:solidFill>
                  <a:prstClr val="white"/>
                </a:solidFill>
              </a:rPr>
              <a:t>Social Networks</a:t>
            </a:r>
          </a:p>
          <a:p>
            <a:pPr marL="212598" indent="-137160" eaLnBrk="1" hangingPunct="1">
              <a:buFontTx/>
              <a:buBlip>
                <a:blip r:embed="rId3"/>
              </a:buBlip>
              <a:defRPr/>
            </a:pPr>
            <a:r>
              <a:rPr lang="en-US" dirty="0">
                <a:solidFill>
                  <a:prstClr val="white"/>
                </a:solidFill>
              </a:rPr>
              <a:t>SEO </a:t>
            </a:r>
          </a:p>
          <a:p>
            <a:pPr marL="212598" indent="-137160" eaLnBrk="1" hangingPunct="1">
              <a:buFontTx/>
              <a:buBlip>
                <a:blip r:embed="rId3"/>
              </a:buBlip>
              <a:defRPr/>
            </a:pPr>
            <a:r>
              <a:rPr lang="en-US" dirty="0">
                <a:solidFill>
                  <a:prstClr val="white"/>
                </a:solidFill>
              </a:rPr>
              <a:t>Direct Mail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FCBE086-2285-46C5-BCD3-22B5414E89EB}"/>
              </a:ext>
            </a:extLst>
          </p:cNvPr>
          <p:cNvSpPr/>
          <p:nvPr/>
        </p:nvSpPr>
        <p:spPr>
          <a:xfrm>
            <a:off x="637309" y="3459847"/>
            <a:ext cx="1990714" cy="1469208"/>
          </a:xfrm>
          <a:prstGeom prst="round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b="1" dirty="0">
                <a:solidFill>
                  <a:prstClr val="white"/>
                </a:solidFill>
              </a:rPr>
              <a:t>Pediatricians</a:t>
            </a:r>
          </a:p>
          <a:p>
            <a:pPr algn="ctr" eaLnBrk="1" hangingPunct="1">
              <a:defRPr/>
            </a:pPr>
            <a:r>
              <a:rPr lang="en-US" dirty="0">
                <a:solidFill>
                  <a:prstClr val="white"/>
                </a:solidFill>
              </a:rPr>
              <a:t>&amp;</a:t>
            </a:r>
            <a:r>
              <a:rPr lang="en-US" b="1" dirty="0">
                <a:solidFill>
                  <a:prstClr val="white"/>
                </a:solidFill>
              </a:rPr>
              <a:t> </a:t>
            </a:r>
          </a:p>
          <a:p>
            <a:pPr algn="ctr" eaLnBrk="1" hangingPunct="1">
              <a:defRPr/>
            </a:pPr>
            <a:r>
              <a:rPr lang="en-US" b="1" dirty="0">
                <a:solidFill>
                  <a:prstClr val="white"/>
                </a:solidFill>
              </a:rPr>
              <a:t>Urologist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0A7484E-B979-4F19-BFAC-385F4C586873}"/>
              </a:ext>
            </a:extLst>
          </p:cNvPr>
          <p:cNvSpPr/>
          <p:nvPr/>
        </p:nvSpPr>
        <p:spPr>
          <a:xfrm>
            <a:off x="5871560" y="1399430"/>
            <a:ext cx="2553568" cy="3967700"/>
          </a:xfrm>
          <a:prstGeom prst="roundRect">
            <a:avLst/>
          </a:prstGeom>
          <a:solidFill>
            <a:srgbClr val="274FA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Aft>
                <a:spcPts val="900"/>
              </a:spcAft>
              <a:defRPr/>
            </a:pPr>
            <a:endParaRPr lang="en-US" dirty="0">
              <a:solidFill>
                <a:prstClr val="white"/>
              </a:solidFill>
            </a:endParaRPr>
          </a:p>
          <a:p>
            <a:pPr algn="ctr" eaLnBrk="1" hangingPunct="1">
              <a:spcAft>
                <a:spcPts val="900"/>
              </a:spcAft>
              <a:defRPr/>
            </a:pPr>
            <a:r>
              <a:rPr lang="en-US" dirty="0">
                <a:solidFill>
                  <a:prstClr val="white"/>
                </a:solidFill>
              </a:rPr>
              <a:t>Launch</a:t>
            </a:r>
          </a:p>
          <a:p>
            <a:pPr eaLnBrk="1" hangingPunct="1">
              <a:spcAft>
                <a:spcPts val="0"/>
              </a:spcAft>
              <a:defRPr/>
            </a:pPr>
            <a:r>
              <a:rPr lang="en-US" dirty="0">
                <a:solidFill>
                  <a:prstClr val="white"/>
                </a:solidFill>
              </a:rPr>
              <a:t>Retail (Avg.)      $300</a:t>
            </a:r>
          </a:p>
          <a:p>
            <a:pPr eaLnBrk="1" hangingPunct="1">
              <a:spcAft>
                <a:spcPts val="0"/>
              </a:spcAft>
              <a:defRPr/>
            </a:pPr>
            <a:r>
              <a:rPr lang="en-US" u="sng" dirty="0">
                <a:solidFill>
                  <a:prstClr val="white"/>
                </a:solidFill>
              </a:rPr>
              <a:t>Cost                 $115</a:t>
            </a:r>
          </a:p>
          <a:p>
            <a:pPr eaLnBrk="1" hangingPunct="1">
              <a:spcAft>
                <a:spcPts val="0"/>
              </a:spcAft>
              <a:defRPr/>
            </a:pPr>
            <a:r>
              <a:rPr lang="en-US" dirty="0">
                <a:solidFill>
                  <a:prstClr val="white"/>
                </a:solidFill>
              </a:rPr>
              <a:t>Profit                $185</a:t>
            </a:r>
          </a:p>
          <a:p>
            <a:pPr eaLnBrk="1" hangingPunct="1">
              <a:spcAft>
                <a:spcPts val="0"/>
              </a:spcAft>
              <a:defRPr/>
            </a:pPr>
            <a:r>
              <a:rPr lang="en-US" dirty="0">
                <a:solidFill>
                  <a:prstClr val="white"/>
                </a:solidFill>
              </a:rPr>
              <a:t>Margin              62%</a:t>
            </a:r>
          </a:p>
          <a:p>
            <a:pPr algn="ctr" eaLnBrk="1" hangingPunct="1"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  <a:p>
            <a:pPr algn="ctr" eaLnBrk="1" hangingPunct="1"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  <a:p>
            <a:pPr algn="ctr" eaLnBrk="1" hangingPunct="1">
              <a:spcAft>
                <a:spcPts val="900"/>
              </a:spcAft>
              <a:defRPr/>
            </a:pPr>
            <a:r>
              <a:rPr lang="en-US" dirty="0">
                <a:solidFill>
                  <a:prstClr val="white"/>
                </a:solidFill>
              </a:rPr>
              <a:t>2019</a:t>
            </a:r>
          </a:p>
          <a:p>
            <a:pPr eaLnBrk="1" hangingPunct="1">
              <a:spcAft>
                <a:spcPts val="0"/>
              </a:spcAft>
              <a:defRPr/>
            </a:pPr>
            <a:r>
              <a:rPr lang="en-US" dirty="0">
                <a:solidFill>
                  <a:prstClr val="white"/>
                </a:solidFill>
              </a:rPr>
              <a:t>Retail (Avg.)      $300</a:t>
            </a:r>
          </a:p>
          <a:p>
            <a:pPr eaLnBrk="1" hangingPunct="1">
              <a:spcAft>
                <a:spcPts val="0"/>
              </a:spcAft>
              <a:defRPr/>
            </a:pPr>
            <a:r>
              <a:rPr lang="en-US" u="sng" dirty="0">
                <a:solidFill>
                  <a:prstClr val="white"/>
                </a:solidFill>
              </a:rPr>
              <a:t>Cost                 $  78</a:t>
            </a:r>
          </a:p>
          <a:p>
            <a:pPr eaLnBrk="1" hangingPunct="1">
              <a:spcAft>
                <a:spcPts val="0"/>
              </a:spcAft>
              <a:defRPr/>
            </a:pPr>
            <a:r>
              <a:rPr lang="en-US" dirty="0">
                <a:solidFill>
                  <a:prstClr val="white"/>
                </a:solidFill>
              </a:rPr>
              <a:t>Profit                $222</a:t>
            </a:r>
          </a:p>
          <a:p>
            <a:pPr eaLnBrk="1" hangingPunct="1">
              <a:spcAft>
                <a:spcPts val="0"/>
              </a:spcAft>
              <a:defRPr/>
            </a:pPr>
            <a:r>
              <a:rPr lang="en-US" dirty="0">
                <a:solidFill>
                  <a:prstClr val="white"/>
                </a:solidFill>
              </a:rPr>
              <a:t>Margin              </a:t>
            </a:r>
            <a:r>
              <a:rPr lang="en-US" b="1" dirty="0">
                <a:solidFill>
                  <a:prstClr val="white"/>
                </a:solidFill>
              </a:rPr>
              <a:t>73%</a:t>
            </a:r>
          </a:p>
          <a:p>
            <a:pPr algn="ctr" eaLnBrk="1" hangingPunct="1">
              <a:spcAft>
                <a:spcPts val="0"/>
              </a:spcAft>
              <a:defRPr/>
            </a:pPr>
            <a:endParaRPr lang="en-US" sz="1600" b="1" dirty="0">
              <a:solidFill>
                <a:prstClr val="white"/>
              </a:solidFill>
            </a:endParaRPr>
          </a:p>
          <a:p>
            <a:pPr algn="ctr" eaLnBrk="1" hangingPunct="1">
              <a:spcAft>
                <a:spcPts val="900"/>
              </a:spcAft>
              <a:defRPr/>
            </a:pPr>
            <a:endParaRPr lang="en-US" sz="1600" b="1" dirty="0">
              <a:solidFill>
                <a:prstClr val="white"/>
              </a:solidFill>
            </a:endParaRPr>
          </a:p>
        </p:txBody>
      </p:sp>
      <p:grpSp>
        <p:nvGrpSpPr>
          <p:cNvPr id="64529" name="Group 13">
            <a:extLst>
              <a:ext uri="{FF2B5EF4-FFF2-40B4-BE49-F238E27FC236}">
                <a16:creationId xmlns:a16="http://schemas.microsoft.com/office/drawing/2014/main" id="{780AB3E9-374C-429A-93E1-38D5E8E29220}"/>
              </a:ext>
            </a:extLst>
          </p:cNvPr>
          <p:cNvGrpSpPr>
            <a:grpSpLocks/>
          </p:cNvGrpSpPr>
          <p:nvPr/>
        </p:nvGrpSpPr>
        <p:grpSpPr bwMode="auto">
          <a:xfrm>
            <a:off x="5295900" y="2646363"/>
            <a:ext cx="503238" cy="1435100"/>
            <a:chOff x="3170876" y="2773535"/>
            <a:chExt cx="845201" cy="131347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78855F9-F3EB-4561-87DE-5F90FAEDE7C8}"/>
                </a:ext>
              </a:extLst>
            </p:cNvPr>
            <p:cNvCxnSpPr/>
            <p:nvPr/>
          </p:nvCxnSpPr>
          <p:spPr bwMode="auto">
            <a:xfrm>
              <a:off x="3170876" y="2773535"/>
              <a:ext cx="845201" cy="605883"/>
            </a:xfrm>
            <a:prstGeom prst="line">
              <a:avLst/>
            </a:prstGeom>
            <a:ln w="2540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99B2ABE-3B48-47AF-ADB2-FF3D24A93110}"/>
                </a:ext>
              </a:extLst>
            </p:cNvPr>
            <p:cNvCxnSpPr/>
            <p:nvPr/>
          </p:nvCxnSpPr>
          <p:spPr bwMode="auto">
            <a:xfrm flipV="1">
              <a:off x="3210871" y="3379418"/>
              <a:ext cx="799874" cy="707592"/>
            </a:xfrm>
            <a:prstGeom prst="line">
              <a:avLst/>
            </a:prstGeom>
            <a:ln w="25400">
              <a:solidFill>
                <a:schemeClr val="tx1">
                  <a:lumMod val="85000"/>
                  <a:lumOff val="1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84277538-9638-472B-944E-53445BB39223}"/>
              </a:ext>
            </a:extLst>
          </p:cNvPr>
          <p:cNvSpPr/>
          <p:nvPr/>
        </p:nvSpPr>
        <p:spPr>
          <a:xfrm>
            <a:off x="2751138" y="2273300"/>
            <a:ext cx="312737" cy="331788"/>
          </a:xfrm>
          <a:prstGeom prst="rightArrow">
            <a:avLst/>
          </a:prstGeom>
          <a:solidFill>
            <a:srgbClr val="274F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Rectangle 54">
            <a:extLst>
              <a:ext uri="{FF2B5EF4-FFF2-40B4-BE49-F238E27FC236}">
                <a16:creationId xmlns:a16="http://schemas.microsoft.com/office/drawing/2014/main" id="{3A90BB0F-F102-4D2D-B4FF-5443FEE336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4440" y="5449623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 eaLnBrk="1" hangingPunct="1">
              <a:defRPr/>
            </a:pPr>
            <a:endParaRPr lang="en-US">
              <a:solidFill>
                <a:prstClr val="black"/>
              </a:solidFill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64532" name="TextBox 7">
            <a:extLst>
              <a:ext uri="{FF2B5EF4-FFF2-40B4-BE49-F238E27FC236}">
                <a16:creationId xmlns:a16="http://schemas.microsoft.com/office/drawing/2014/main" id="{AABC9D41-FD67-4165-BC3C-4755207EAD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en-US" altLang="en-US" sz="2800" b="1">
                <a:solidFill>
                  <a:srgbClr val="262626"/>
                </a:solidFill>
                <a:latin typeface="Century Gothic" panose="020B0502020202020204" pitchFamily="34" charset="0"/>
              </a:rPr>
              <a:t>Market Strategy - Pricing</a:t>
            </a:r>
          </a:p>
        </p:txBody>
      </p:sp>
      <p:sp>
        <p:nvSpPr>
          <p:cNvPr id="64533" name="TextBox 22">
            <a:extLst>
              <a:ext uri="{FF2B5EF4-FFF2-40B4-BE49-F238E27FC236}">
                <a16:creationId xmlns:a16="http://schemas.microsoft.com/office/drawing/2014/main" id="{A2E6196E-CBAD-4DA6-8F93-110FE6E1E1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5500" y="5746750"/>
            <a:ext cx="790098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600" b="1">
                <a:solidFill>
                  <a:srgbClr val="262626"/>
                </a:solidFill>
              </a:rPr>
              <a:t>Qualifies for Flexible Spending and Health Savings Accounts</a:t>
            </a:r>
          </a:p>
        </p:txBody>
      </p:sp>
      <p:sp>
        <p:nvSpPr>
          <p:cNvPr id="25" name="Arrow: Right 24">
            <a:extLst>
              <a:ext uri="{FF2B5EF4-FFF2-40B4-BE49-F238E27FC236}">
                <a16:creationId xmlns:a16="http://schemas.microsoft.com/office/drawing/2014/main" id="{676B8CDA-D476-47CB-8622-56AF8A52AF08}"/>
              </a:ext>
            </a:extLst>
          </p:cNvPr>
          <p:cNvSpPr/>
          <p:nvPr/>
        </p:nvSpPr>
        <p:spPr>
          <a:xfrm>
            <a:off x="2749550" y="4014788"/>
            <a:ext cx="311150" cy="331787"/>
          </a:xfrm>
          <a:prstGeom prst="rightArrow">
            <a:avLst/>
          </a:prstGeom>
          <a:solidFill>
            <a:srgbClr val="274F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64535" name="Picture 25">
            <a:extLst>
              <a:ext uri="{FF2B5EF4-FFF2-40B4-BE49-F238E27FC236}">
                <a16:creationId xmlns:a16="http://schemas.microsoft.com/office/drawing/2014/main" id="{5284082B-53BD-4A74-878A-8D2C9D7E51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536" name="Footer Placeholder 3">
            <a:extLst>
              <a:ext uri="{FF2B5EF4-FFF2-40B4-BE49-F238E27FC236}">
                <a16:creationId xmlns:a16="http://schemas.microsoft.com/office/drawing/2014/main" id="{B895E413-7E85-4350-9986-6AACFF42DD9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0" y="6489700"/>
            <a:ext cx="5005388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US" altLang="en-US" sz="800">
                <a:solidFill>
                  <a:srgbClr val="000000"/>
                </a:solidFill>
                <a:latin typeface="Tw Cen MT" panose="020B0602020104020603" pitchFamily="34" charset="0"/>
              </a:rPr>
              <a:t>GOGO BAND Proprietary and Confidential – March 2017</a:t>
            </a: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B08ABC69-BF90-442B-82BC-4F4DE40322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2D934ECA-3A6F-4AFA-AA41-B440BC9973B2}" type="slidenum">
              <a:rPr lang="en-US" sz="950" b="1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n-US" sz="950" b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Footer Placeholder 3">
            <a:extLst>
              <a:ext uri="{FF2B5EF4-FFF2-40B4-BE49-F238E27FC236}">
                <a16:creationId xmlns:a16="http://schemas.microsoft.com/office/drawing/2014/main" id="{58C83BB3-FBF7-4549-9CA8-594F6C71F7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0" y="6489700"/>
            <a:ext cx="5005388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0D87B5-E5D1-44DB-969B-B75F89C935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GOGO BAND Roadmap</a:t>
            </a:r>
          </a:p>
        </p:txBody>
      </p:sp>
      <p:pic>
        <p:nvPicPr>
          <p:cNvPr id="68612" name="Picture 8">
            <a:extLst>
              <a:ext uri="{FF2B5EF4-FFF2-40B4-BE49-F238E27FC236}">
                <a16:creationId xmlns:a16="http://schemas.microsoft.com/office/drawing/2014/main" id="{22D7722C-2D5E-48F6-9734-F2D160DE2B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AA54F2C-2ACA-4E47-B3E7-9436E268A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C4115B9B-0E22-4223-B003-AED8A7638797}" type="slidenum">
              <a:rPr lang="en-US" sz="950" b="1"/>
              <a:pPr>
                <a:defRPr/>
              </a:pPr>
              <a:t>22</a:t>
            </a:fld>
            <a:endParaRPr lang="en-US" sz="950" b="1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59628D4-C9A4-44B6-857F-F7F461058752}"/>
              </a:ext>
            </a:extLst>
          </p:cNvPr>
          <p:cNvCxnSpPr/>
          <p:nvPr/>
        </p:nvCxnSpPr>
        <p:spPr>
          <a:xfrm>
            <a:off x="712258" y="4933558"/>
            <a:ext cx="7897955" cy="19172"/>
          </a:xfrm>
          <a:prstGeom prst="line">
            <a:avLst/>
          </a:prstGeom>
          <a:ln w="50800">
            <a:solidFill>
              <a:schemeClr val="tx1">
                <a:lumMod val="75000"/>
                <a:lumOff val="2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A01F990-D490-4A83-8B0C-20C2A3833B2B}"/>
              </a:ext>
            </a:extLst>
          </p:cNvPr>
          <p:cNvSpPr txBox="1"/>
          <p:nvPr/>
        </p:nvSpPr>
        <p:spPr>
          <a:xfrm>
            <a:off x="3582988" y="5508625"/>
            <a:ext cx="1279525" cy="646113"/>
          </a:xfrm>
          <a:prstGeom prst="rect">
            <a:avLst/>
          </a:prstGeom>
          <a:noFill/>
          <a:ln w="41275">
            <a:solidFill>
              <a:schemeClr val="tx1">
                <a:lumMod val="85000"/>
                <a:lumOff val="15000"/>
              </a:schemeClr>
            </a:solidFill>
          </a:ln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We Are Here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D1FF5BF-E77E-4062-BEA3-3A93DDE1AA0B}"/>
              </a:ext>
            </a:extLst>
          </p:cNvPr>
          <p:cNvCxnSpPr/>
          <p:nvPr/>
        </p:nvCxnSpPr>
        <p:spPr>
          <a:xfrm flipV="1">
            <a:off x="4222750" y="4951413"/>
            <a:ext cx="1588" cy="527050"/>
          </a:xfrm>
          <a:prstGeom prst="straightConnector1">
            <a:avLst/>
          </a:prstGeom>
          <a:ln w="41275">
            <a:solidFill>
              <a:schemeClr val="tx1">
                <a:lumMod val="85000"/>
                <a:lumOff val="15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48A5BFE-C403-4D9A-8806-F071D0958A8E}"/>
              </a:ext>
            </a:extLst>
          </p:cNvPr>
          <p:cNvCxnSpPr/>
          <p:nvPr/>
        </p:nvCxnSpPr>
        <p:spPr>
          <a:xfrm flipH="1" flipV="1">
            <a:off x="819150" y="4129088"/>
            <a:ext cx="6350" cy="784225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F3A5C9AA-6DDA-474D-98C8-084F0D7CFA56}"/>
              </a:ext>
            </a:extLst>
          </p:cNvPr>
          <p:cNvSpPr txBox="1"/>
          <p:nvPr/>
        </p:nvSpPr>
        <p:spPr>
          <a:xfrm>
            <a:off x="369888" y="3482975"/>
            <a:ext cx="911225" cy="6016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GOGO BAND Founded</a:t>
            </a:r>
          </a:p>
        </p:txBody>
      </p:sp>
      <p:sp>
        <p:nvSpPr>
          <p:cNvPr id="68619" name="TextBox 15">
            <a:extLst>
              <a:ext uri="{FF2B5EF4-FFF2-40B4-BE49-F238E27FC236}">
                <a16:creationId xmlns:a16="http://schemas.microsoft.com/office/drawing/2014/main" id="{251C1318-1ED9-41D1-BF7E-08FE45FC60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838" y="4984750"/>
            <a:ext cx="46831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/>
              <a:t>Feb 2016</a:t>
            </a:r>
          </a:p>
        </p:txBody>
      </p:sp>
      <p:grpSp>
        <p:nvGrpSpPr>
          <p:cNvPr id="68620" name="Group 16">
            <a:extLst>
              <a:ext uri="{FF2B5EF4-FFF2-40B4-BE49-F238E27FC236}">
                <a16:creationId xmlns:a16="http://schemas.microsoft.com/office/drawing/2014/main" id="{A83D0118-1978-4F6E-BDAA-303F7DBD43D5}"/>
              </a:ext>
            </a:extLst>
          </p:cNvPr>
          <p:cNvGrpSpPr>
            <a:grpSpLocks/>
          </p:cNvGrpSpPr>
          <p:nvPr/>
        </p:nvGrpSpPr>
        <p:grpSpPr bwMode="auto">
          <a:xfrm>
            <a:off x="1047750" y="2263775"/>
            <a:ext cx="954088" cy="3084513"/>
            <a:chOff x="2372805" y="1979599"/>
            <a:chExt cx="1272089" cy="3683093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2A0FCE6C-0E21-455D-98EB-4B3ED17C0091}"/>
                </a:ext>
              </a:extLst>
            </p:cNvPr>
            <p:cNvCxnSpPr/>
            <p:nvPr/>
          </p:nvCxnSpPr>
          <p:spPr>
            <a:xfrm flipV="1">
              <a:off x="2982391" y="2802276"/>
              <a:ext cx="10584" cy="2314491"/>
            </a:xfrm>
            <a:prstGeom prst="line">
              <a:avLst/>
            </a:prstGeom>
            <a:ln w="381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C371458-4B78-429D-A3F4-EA4C9ED070BE}"/>
                </a:ext>
              </a:extLst>
            </p:cNvPr>
            <p:cNvSpPr txBox="1"/>
            <p:nvPr/>
          </p:nvSpPr>
          <p:spPr>
            <a:xfrm>
              <a:off x="2372805" y="1979599"/>
              <a:ext cx="1272089" cy="106910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hangingPunct="1">
                <a:defRPr/>
              </a:pPr>
              <a:r>
                <a:rPr lang="en-US" sz="11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rPr>
                <a:t>$100K+ Seed Funding</a:t>
              </a:r>
            </a:p>
          </p:txBody>
        </p:sp>
        <p:sp>
          <p:nvSpPr>
            <p:cNvPr id="68655" name="TextBox 19">
              <a:extLst>
                <a:ext uri="{FF2B5EF4-FFF2-40B4-BE49-F238E27FC236}">
                  <a16:creationId xmlns:a16="http://schemas.microsoft.com/office/drawing/2014/main" id="{1F73B0B1-A897-4899-9D70-639B99ADC3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13185" y="5221619"/>
              <a:ext cx="791328" cy="441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900" b="1"/>
                <a:t>Mar</a:t>
              </a:r>
              <a:r>
                <a:rPr lang="en-US" altLang="en-US" sz="900"/>
                <a:t> </a:t>
              </a:r>
              <a:r>
                <a:rPr lang="en-US" altLang="en-US" sz="900" b="1"/>
                <a:t>2016</a:t>
              </a:r>
            </a:p>
          </p:txBody>
        </p:sp>
      </p:grpSp>
      <p:grpSp>
        <p:nvGrpSpPr>
          <p:cNvPr id="68621" name="Group 20">
            <a:extLst>
              <a:ext uri="{FF2B5EF4-FFF2-40B4-BE49-F238E27FC236}">
                <a16:creationId xmlns:a16="http://schemas.microsoft.com/office/drawing/2014/main" id="{712BDD57-0FAC-402E-BD62-529E5D79D7F0}"/>
              </a:ext>
            </a:extLst>
          </p:cNvPr>
          <p:cNvGrpSpPr>
            <a:grpSpLocks/>
          </p:cNvGrpSpPr>
          <p:nvPr/>
        </p:nvGrpSpPr>
        <p:grpSpPr bwMode="auto">
          <a:xfrm>
            <a:off x="1738313" y="3482975"/>
            <a:ext cx="985837" cy="1871663"/>
            <a:chOff x="3132107" y="3580376"/>
            <a:chExt cx="1314364" cy="2070197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8559577-DC66-4054-8943-9B3120AA3F61}"/>
                </a:ext>
              </a:extLst>
            </p:cNvPr>
            <p:cNvCxnSpPr/>
            <p:nvPr/>
          </p:nvCxnSpPr>
          <p:spPr>
            <a:xfrm flipH="1" flipV="1">
              <a:off x="3752249" y="4131726"/>
              <a:ext cx="8466" cy="1046512"/>
            </a:xfrm>
            <a:prstGeom prst="line">
              <a:avLst/>
            </a:prstGeom>
            <a:ln w="3810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5DFD096-B630-4A07-ADE2-C1823414AE40}"/>
                </a:ext>
              </a:extLst>
            </p:cNvPr>
            <p:cNvSpPr txBox="1"/>
            <p:nvPr/>
          </p:nvSpPr>
          <p:spPr>
            <a:xfrm>
              <a:off x="3132107" y="3580376"/>
              <a:ext cx="1314364" cy="47760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hangingPunct="1">
                <a:defRPr/>
              </a:pPr>
              <a:r>
                <a:rPr lang="en-US" sz="11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rPr>
                <a:t>Provisional</a:t>
              </a:r>
            </a:p>
            <a:p>
              <a:pPr algn="ctr" eaLnBrk="1" hangingPunct="1">
                <a:defRPr/>
              </a:pPr>
              <a:r>
                <a:rPr lang="en-US" sz="11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rPr>
                <a:t>Patent Filed</a:t>
              </a:r>
            </a:p>
          </p:txBody>
        </p:sp>
        <p:sp>
          <p:nvSpPr>
            <p:cNvPr id="68652" name="TextBox 23">
              <a:extLst>
                <a:ext uri="{FF2B5EF4-FFF2-40B4-BE49-F238E27FC236}">
                  <a16:creationId xmlns:a16="http://schemas.microsoft.com/office/drawing/2014/main" id="{BEC29598-DB86-41BF-A2C7-165DC02A2D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07974" y="5241728"/>
              <a:ext cx="639625" cy="4088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900" b="1"/>
                <a:t>July 2016</a:t>
              </a:r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44A8AAC-455B-4F5F-878D-E250B97ECEC7}"/>
              </a:ext>
            </a:extLst>
          </p:cNvPr>
          <p:cNvCxnSpPr>
            <a:cxnSpLocks/>
          </p:cNvCxnSpPr>
          <p:nvPr/>
        </p:nvCxnSpPr>
        <p:spPr>
          <a:xfrm flipH="1" flipV="1">
            <a:off x="3509963" y="4038600"/>
            <a:ext cx="4762" cy="868363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3D48E30-6844-49AF-ABDF-F30D19AB5C27}"/>
              </a:ext>
            </a:extLst>
          </p:cNvPr>
          <p:cNvSpPr txBox="1"/>
          <p:nvPr/>
        </p:nvSpPr>
        <p:spPr>
          <a:xfrm>
            <a:off x="3011488" y="3146425"/>
            <a:ext cx="971550" cy="9382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700+ Child Nights</a:t>
            </a:r>
          </a:p>
          <a:p>
            <a:pPr algn="ctr" eaLnBrk="1" hangingPunct="1">
              <a:defRPr/>
            </a:pPr>
            <a:r>
              <a:rPr lang="en-US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Validates Biometric Model</a:t>
            </a:r>
          </a:p>
        </p:txBody>
      </p:sp>
      <p:sp>
        <p:nvSpPr>
          <p:cNvPr id="68624" name="TextBox 26">
            <a:extLst>
              <a:ext uri="{FF2B5EF4-FFF2-40B4-BE49-F238E27FC236}">
                <a16:creationId xmlns:a16="http://schemas.microsoft.com/office/drawing/2014/main" id="{C95E45E5-84BC-4498-849E-CA21444DFD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68663" y="4972050"/>
            <a:ext cx="4968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/>
              <a:t>Dec 2016</a:t>
            </a:r>
          </a:p>
        </p:txBody>
      </p:sp>
      <p:grpSp>
        <p:nvGrpSpPr>
          <p:cNvPr id="68625" name="Group 27">
            <a:extLst>
              <a:ext uri="{FF2B5EF4-FFF2-40B4-BE49-F238E27FC236}">
                <a16:creationId xmlns:a16="http://schemas.microsoft.com/office/drawing/2014/main" id="{3158F053-1F11-46F3-8675-14E19937A03B}"/>
              </a:ext>
            </a:extLst>
          </p:cNvPr>
          <p:cNvGrpSpPr>
            <a:grpSpLocks/>
          </p:cNvGrpSpPr>
          <p:nvPr/>
        </p:nvGrpSpPr>
        <p:grpSpPr bwMode="auto">
          <a:xfrm>
            <a:off x="3781425" y="2432050"/>
            <a:ext cx="1230313" cy="2903538"/>
            <a:chOff x="4453512" y="2395281"/>
            <a:chExt cx="1639938" cy="3027916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8AA96F5-5589-44EA-A991-5A350C41F310}"/>
                </a:ext>
              </a:extLst>
            </p:cNvPr>
            <p:cNvSpPr txBox="1"/>
            <p:nvPr/>
          </p:nvSpPr>
          <p:spPr>
            <a:xfrm>
              <a:off x="4453512" y="2395281"/>
              <a:ext cx="1639938" cy="47347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hangingPunct="1">
                <a:defRPr/>
              </a:pPr>
              <a:r>
                <a:rPr lang="en-US" sz="11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rPr>
                <a:t>$700K </a:t>
              </a:r>
            </a:p>
            <a:p>
              <a:pPr algn="ctr" eaLnBrk="1" hangingPunct="1">
                <a:defRPr/>
              </a:pPr>
              <a:r>
                <a:rPr lang="en-US" sz="11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rPr>
                <a:t>Investment</a:t>
              </a:r>
            </a:p>
          </p:txBody>
        </p:sp>
        <p:sp>
          <p:nvSpPr>
            <p:cNvPr id="68649" name="TextBox 29">
              <a:extLst>
                <a:ext uri="{FF2B5EF4-FFF2-40B4-BE49-F238E27FC236}">
                  <a16:creationId xmlns:a16="http://schemas.microsoft.com/office/drawing/2014/main" id="{D1DF72CD-7BEC-482B-B016-053CE7FE9A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81204" y="5038084"/>
              <a:ext cx="606833" cy="385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900" b="1"/>
                <a:t>Mar</a:t>
              </a:r>
            </a:p>
            <a:p>
              <a:pPr algn="ctr" eaLnBrk="1" hangingPunct="1"/>
              <a:r>
                <a:rPr lang="en-US" altLang="en-US" sz="900" b="1"/>
                <a:t>2017</a:t>
              </a:r>
            </a:p>
          </p:txBody>
        </p: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566609C-C930-442D-863F-29E10987D3B4}"/>
              </a:ext>
            </a:extLst>
          </p:cNvPr>
          <p:cNvCxnSpPr>
            <a:cxnSpLocks/>
          </p:cNvCxnSpPr>
          <p:nvPr/>
        </p:nvCxnSpPr>
        <p:spPr>
          <a:xfrm flipV="1">
            <a:off x="5942013" y="4262438"/>
            <a:ext cx="3175" cy="636587"/>
          </a:xfrm>
          <a:prstGeom prst="line">
            <a:avLst/>
          </a:prstGeom>
          <a:ln w="38100">
            <a:solidFill>
              <a:srgbClr val="0854C4"/>
            </a:solidFill>
            <a:prstDash val="sys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47040998-6ABA-4D5D-8B86-E04D58106D10}"/>
              </a:ext>
            </a:extLst>
          </p:cNvPr>
          <p:cNvSpPr txBox="1"/>
          <p:nvPr/>
        </p:nvSpPr>
        <p:spPr>
          <a:xfrm>
            <a:off x="5491163" y="3803650"/>
            <a:ext cx="912812" cy="4318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Cash Flow Positive</a:t>
            </a:r>
          </a:p>
        </p:txBody>
      </p:sp>
      <p:sp>
        <p:nvSpPr>
          <p:cNvPr id="68628" name="TextBox 32">
            <a:extLst>
              <a:ext uri="{FF2B5EF4-FFF2-40B4-BE49-F238E27FC236}">
                <a16:creationId xmlns:a16="http://schemas.microsoft.com/office/drawing/2014/main" id="{F33FA185-4F47-44BF-8B13-D4C8732B77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92775" y="4970463"/>
            <a:ext cx="4730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/>
              <a:t>Aug 2018</a:t>
            </a:r>
          </a:p>
        </p:txBody>
      </p:sp>
      <p:grpSp>
        <p:nvGrpSpPr>
          <p:cNvPr id="68629" name="Group 33">
            <a:extLst>
              <a:ext uri="{FF2B5EF4-FFF2-40B4-BE49-F238E27FC236}">
                <a16:creationId xmlns:a16="http://schemas.microsoft.com/office/drawing/2014/main" id="{CCDEF689-A9BF-49DA-ADDA-28CD04E5B1DB}"/>
              </a:ext>
            </a:extLst>
          </p:cNvPr>
          <p:cNvGrpSpPr>
            <a:grpSpLocks/>
          </p:cNvGrpSpPr>
          <p:nvPr/>
        </p:nvGrpSpPr>
        <p:grpSpPr bwMode="auto">
          <a:xfrm>
            <a:off x="6224588" y="2349500"/>
            <a:ext cx="1141412" cy="3016250"/>
            <a:chOff x="6791559" y="1644568"/>
            <a:chExt cx="1520908" cy="4020974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4CF2479-6C50-4E49-B502-0EC66DFBC23A}"/>
                </a:ext>
              </a:extLst>
            </p:cNvPr>
            <p:cNvSpPr txBox="1"/>
            <p:nvPr/>
          </p:nvSpPr>
          <p:spPr>
            <a:xfrm>
              <a:off x="6791559" y="1644568"/>
              <a:ext cx="1520908" cy="57351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hangingPunct="1">
                <a:defRPr/>
              </a:pPr>
              <a:r>
                <a:rPr lang="en-US" sz="11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rPr>
                <a:t>International Expansion</a:t>
              </a:r>
            </a:p>
          </p:txBody>
        </p:sp>
        <p:sp>
          <p:nvSpPr>
            <p:cNvPr id="68647" name="TextBox 35">
              <a:extLst>
                <a:ext uri="{FF2B5EF4-FFF2-40B4-BE49-F238E27FC236}">
                  <a16:creationId xmlns:a16="http://schemas.microsoft.com/office/drawing/2014/main" id="{191F0615-2EC5-4E23-805B-80A9E30A12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4334" y="5173099"/>
              <a:ext cx="608752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900" b="1"/>
                <a:t>June 2019</a:t>
              </a:r>
            </a:p>
          </p:txBody>
        </p:sp>
      </p:grpSp>
      <p:grpSp>
        <p:nvGrpSpPr>
          <p:cNvPr id="68630" name="Group 36">
            <a:extLst>
              <a:ext uri="{FF2B5EF4-FFF2-40B4-BE49-F238E27FC236}">
                <a16:creationId xmlns:a16="http://schemas.microsoft.com/office/drawing/2014/main" id="{05BB252D-0922-4566-84B2-3BB7664C5513}"/>
              </a:ext>
            </a:extLst>
          </p:cNvPr>
          <p:cNvGrpSpPr>
            <a:grpSpLocks/>
          </p:cNvGrpSpPr>
          <p:nvPr/>
        </p:nvGrpSpPr>
        <p:grpSpPr bwMode="auto">
          <a:xfrm>
            <a:off x="7061200" y="3001963"/>
            <a:ext cx="912813" cy="2365375"/>
            <a:chOff x="7705792" y="2514976"/>
            <a:chExt cx="1216152" cy="3153924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7752175-5586-4CB7-950C-DD1E69042DDF}"/>
                </a:ext>
              </a:extLst>
            </p:cNvPr>
            <p:cNvSpPr txBox="1"/>
            <p:nvPr/>
          </p:nvSpPr>
          <p:spPr>
            <a:xfrm>
              <a:off x="7705792" y="2514976"/>
              <a:ext cx="1216152" cy="5736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hangingPunct="1">
                <a:defRPr/>
              </a:pPr>
              <a:r>
                <a:rPr lang="en-US" sz="11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rPr>
                <a:t>Potty</a:t>
              </a:r>
            </a:p>
            <a:p>
              <a:pPr algn="ctr" eaLnBrk="1" hangingPunct="1">
                <a:defRPr/>
              </a:pPr>
              <a:r>
                <a:rPr lang="en-US" sz="11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rPr>
                <a:t>Training</a:t>
              </a:r>
            </a:p>
          </p:txBody>
        </p:sp>
        <p:sp>
          <p:nvSpPr>
            <p:cNvPr id="68645" name="TextBox 38">
              <a:extLst>
                <a:ext uri="{FF2B5EF4-FFF2-40B4-BE49-F238E27FC236}">
                  <a16:creationId xmlns:a16="http://schemas.microsoft.com/office/drawing/2014/main" id="{E3950AC0-CFDD-497C-8449-FACC8F64525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83248" y="5176457"/>
              <a:ext cx="630991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900" b="1"/>
                <a:t>June 2020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FA48F648-219B-4745-9C71-72CAA446A1CD}"/>
              </a:ext>
            </a:extLst>
          </p:cNvPr>
          <p:cNvSpPr txBox="1"/>
          <p:nvPr/>
        </p:nvSpPr>
        <p:spPr>
          <a:xfrm>
            <a:off x="4745038" y="3286125"/>
            <a:ext cx="911225" cy="4302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Product Launch</a:t>
            </a:r>
          </a:p>
        </p:txBody>
      </p:sp>
      <p:sp>
        <p:nvSpPr>
          <p:cNvPr id="68632" name="TextBox 40">
            <a:extLst>
              <a:ext uri="{FF2B5EF4-FFF2-40B4-BE49-F238E27FC236}">
                <a16:creationId xmlns:a16="http://schemas.microsoft.com/office/drawing/2014/main" id="{2927D756-E4B4-4E64-B20C-01E066BD4F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4425" y="4972050"/>
            <a:ext cx="50006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/>
              <a:t>Aug</a:t>
            </a:r>
          </a:p>
          <a:p>
            <a:pPr algn="ctr" eaLnBrk="1" hangingPunct="1"/>
            <a:r>
              <a:rPr lang="en-US" altLang="en-US" sz="900" b="1"/>
              <a:t>2017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9F064FE-F84A-4620-BC9A-4EE911A91CD1}"/>
              </a:ext>
            </a:extLst>
          </p:cNvPr>
          <p:cNvCxnSpPr>
            <a:cxnSpLocks/>
          </p:cNvCxnSpPr>
          <p:nvPr/>
        </p:nvCxnSpPr>
        <p:spPr>
          <a:xfrm flipV="1">
            <a:off x="5200650" y="3770313"/>
            <a:ext cx="6350" cy="1136650"/>
          </a:xfrm>
          <a:prstGeom prst="line">
            <a:avLst/>
          </a:prstGeom>
          <a:ln w="38100">
            <a:solidFill>
              <a:srgbClr val="0854C4"/>
            </a:solidFill>
            <a:prstDash val="sys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68634" name="Group 42">
            <a:extLst>
              <a:ext uri="{FF2B5EF4-FFF2-40B4-BE49-F238E27FC236}">
                <a16:creationId xmlns:a16="http://schemas.microsoft.com/office/drawing/2014/main" id="{B8C9AECE-A52C-43F4-93C8-57AFBE4407E3}"/>
              </a:ext>
            </a:extLst>
          </p:cNvPr>
          <p:cNvGrpSpPr>
            <a:grpSpLocks/>
          </p:cNvGrpSpPr>
          <p:nvPr/>
        </p:nvGrpSpPr>
        <p:grpSpPr bwMode="auto">
          <a:xfrm>
            <a:off x="7778750" y="3465513"/>
            <a:ext cx="912813" cy="1890712"/>
            <a:chOff x="8456668" y="3131857"/>
            <a:chExt cx="1216152" cy="2521999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C5927C8D-EFB0-40C2-847B-171D16783694}"/>
                </a:ext>
              </a:extLst>
            </p:cNvPr>
            <p:cNvCxnSpPr/>
            <p:nvPr/>
          </p:nvCxnSpPr>
          <p:spPr>
            <a:xfrm flipH="1" flipV="1">
              <a:off x="9067917" y="3777708"/>
              <a:ext cx="2114" cy="1293822"/>
            </a:xfrm>
            <a:prstGeom prst="line">
              <a:avLst/>
            </a:prstGeom>
            <a:ln w="38100">
              <a:solidFill>
                <a:srgbClr val="2CB311"/>
              </a:solidFill>
              <a:prstDash val="sys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D4697A6-0200-4F6E-BA89-7A87A87D3D2A}"/>
                </a:ext>
              </a:extLst>
            </p:cNvPr>
            <p:cNvSpPr txBox="1"/>
            <p:nvPr/>
          </p:nvSpPr>
          <p:spPr>
            <a:xfrm>
              <a:off x="8456668" y="3131857"/>
              <a:ext cx="1216152" cy="57385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hangingPunct="1">
                <a:defRPr/>
              </a:pPr>
              <a:r>
                <a:rPr lang="en-US" sz="11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rPr>
                <a:t>Geriatric</a:t>
              </a:r>
            </a:p>
            <a:p>
              <a:pPr algn="ctr" eaLnBrk="1" hangingPunct="1">
                <a:defRPr/>
              </a:pPr>
              <a:r>
                <a:rPr lang="en-US" sz="11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rPr>
                <a:t>Enuresis</a:t>
              </a:r>
            </a:p>
          </p:txBody>
        </p:sp>
        <p:sp>
          <p:nvSpPr>
            <p:cNvPr id="68643" name="TextBox 45">
              <a:extLst>
                <a:ext uri="{FF2B5EF4-FFF2-40B4-BE49-F238E27FC236}">
                  <a16:creationId xmlns:a16="http://schemas.microsoft.com/office/drawing/2014/main" id="{DAEA2AFA-F72E-4D8B-8FAB-E7E5E9B767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715809" y="5161413"/>
              <a:ext cx="630999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900" b="1"/>
                <a:t>June 2021</a:t>
              </a:r>
            </a:p>
          </p:txBody>
        </p:sp>
      </p:grp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B40C2BCB-52D9-49A8-B636-69D2952419C2}"/>
              </a:ext>
            </a:extLst>
          </p:cNvPr>
          <p:cNvCxnSpPr>
            <a:cxnSpLocks/>
          </p:cNvCxnSpPr>
          <p:nvPr/>
        </p:nvCxnSpPr>
        <p:spPr>
          <a:xfrm flipV="1">
            <a:off x="4410075" y="2935288"/>
            <a:ext cx="4763" cy="1962150"/>
          </a:xfrm>
          <a:prstGeom prst="line">
            <a:avLst/>
          </a:prstGeom>
          <a:ln w="38100">
            <a:solidFill>
              <a:srgbClr val="0854C4"/>
            </a:solidFill>
            <a:prstDash val="sys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6EBB9F7-F806-45CC-894D-94F8B9D66F43}"/>
              </a:ext>
            </a:extLst>
          </p:cNvPr>
          <p:cNvCxnSpPr>
            <a:cxnSpLocks/>
            <a:endCxn id="38" idx="2"/>
          </p:cNvCxnSpPr>
          <p:nvPr/>
        </p:nvCxnSpPr>
        <p:spPr>
          <a:xfrm flipV="1">
            <a:off x="7515225" y="3433763"/>
            <a:ext cx="1588" cy="1495425"/>
          </a:xfrm>
          <a:prstGeom prst="line">
            <a:avLst/>
          </a:prstGeom>
          <a:ln w="38100">
            <a:solidFill>
              <a:srgbClr val="2CB311"/>
            </a:solidFill>
            <a:prstDash val="sys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4CDF981-F912-4C9B-A242-BBA2AADC7F4E}"/>
              </a:ext>
            </a:extLst>
          </p:cNvPr>
          <p:cNvCxnSpPr>
            <a:cxnSpLocks/>
          </p:cNvCxnSpPr>
          <p:nvPr/>
        </p:nvCxnSpPr>
        <p:spPr>
          <a:xfrm flipV="1">
            <a:off x="6800850" y="2814638"/>
            <a:ext cx="11113" cy="2106612"/>
          </a:xfrm>
          <a:prstGeom prst="line">
            <a:avLst/>
          </a:prstGeom>
          <a:ln w="38100">
            <a:solidFill>
              <a:srgbClr val="2CB311"/>
            </a:solidFill>
            <a:prstDash val="sys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720B386-5E22-4864-AB4B-1B5777A7759D}"/>
              </a:ext>
            </a:extLst>
          </p:cNvPr>
          <p:cNvCxnSpPr>
            <a:cxnSpLocks/>
            <a:endCxn id="51" idx="2"/>
          </p:cNvCxnSpPr>
          <p:nvPr/>
        </p:nvCxnSpPr>
        <p:spPr>
          <a:xfrm flipV="1">
            <a:off x="2879725" y="2930525"/>
            <a:ext cx="17463" cy="1973263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0E5FB03A-874B-4378-84D8-CF114F9FBAF9}"/>
              </a:ext>
            </a:extLst>
          </p:cNvPr>
          <p:cNvSpPr txBox="1"/>
          <p:nvPr/>
        </p:nvSpPr>
        <p:spPr>
          <a:xfrm>
            <a:off x="2411413" y="1992313"/>
            <a:ext cx="971550" cy="9382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11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$500K+ Lighthouse Labs &amp; Partner Donations</a:t>
            </a:r>
          </a:p>
        </p:txBody>
      </p:sp>
      <p:sp>
        <p:nvSpPr>
          <p:cNvPr id="68640" name="TextBox 51">
            <a:extLst>
              <a:ext uri="{FF2B5EF4-FFF2-40B4-BE49-F238E27FC236}">
                <a16:creationId xmlns:a16="http://schemas.microsoft.com/office/drawing/2014/main" id="{60FFF488-C1E2-402E-8EDE-F88F1AEA5C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47938" y="4979988"/>
            <a:ext cx="5207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/>
              <a:t>Nov 2016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Footer Placeholder 3">
            <a:extLst>
              <a:ext uri="{FF2B5EF4-FFF2-40B4-BE49-F238E27FC236}">
                <a16:creationId xmlns:a16="http://schemas.microsoft.com/office/drawing/2014/main" id="{ADFBD0B9-0558-4B0C-AFE6-C870396AC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0" y="6489700"/>
            <a:ext cx="5005388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A9DB80-9CF1-48EE-B45B-7C75D817F9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Donated Efforts from Partnerships</a:t>
            </a:r>
          </a:p>
        </p:txBody>
      </p:sp>
      <p:pic>
        <p:nvPicPr>
          <p:cNvPr id="70660" name="Picture 8">
            <a:extLst>
              <a:ext uri="{FF2B5EF4-FFF2-40B4-BE49-F238E27FC236}">
                <a16:creationId xmlns:a16="http://schemas.microsoft.com/office/drawing/2014/main" id="{67EBD02F-376A-48B6-81CC-83DACA45C0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AE89EF0-1398-4912-8FEC-8DCF4C865C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CDEA444A-B6BE-4BCA-A410-578CEE10099C}" type="slidenum">
              <a:rPr lang="en-US" sz="950" b="1"/>
              <a:pPr>
                <a:defRPr/>
              </a:pPr>
              <a:t>23</a:t>
            </a:fld>
            <a:endParaRPr lang="en-US" sz="950" b="1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893857A-986E-4084-B6F6-0A82E8E32E1D}"/>
              </a:ext>
            </a:extLst>
          </p:cNvPr>
          <p:cNvCxnSpPr>
            <a:cxnSpLocks/>
          </p:cNvCxnSpPr>
          <p:nvPr/>
        </p:nvCxnSpPr>
        <p:spPr>
          <a:xfrm>
            <a:off x="3052763" y="2638425"/>
            <a:ext cx="3028950" cy="2257425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63B48C1-3EC4-4A2B-90BF-A9DEC41DD534}"/>
              </a:ext>
            </a:extLst>
          </p:cNvPr>
          <p:cNvCxnSpPr>
            <a:cxnSpLocks/>
          </p:cNvCxnSpPr>
          <p:nvPr/>
        </p:nvCxnSpPr>
        <p:spPr>
          <a:xfrm flipH="1">
            <a:off x="3052763" y="2638425"/>
            <a:ext cx="3028950" cy="223520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4A0F2F4-7D02-4175-9111-77CD2E97C7CF}"/>
              </a:ext>
            </a:extLst>
          </p:cNvPr>
          <p:cNvCxnSpPr>
            <a:cxnSpLocks/>
            <a:stCxn id="0" idx="3"/>
            <a:endCxn id="0" idx="0"/>
          </p:cNvCxnSpPr>
          <p:nvPr/>
        </p:nvCxnSpPr>
        <p:spPr>
          <a:xfrm>
            <a:off x="2022475" y="3663950"/>
            <a:ext cx="5151438" cy="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Freeform 3">
            <a:extLst>
              <a:ext uri="{FF2B5EF4-FFF2-40B4-BE49-F238E27FC236}">
                <a16:creationId xmlns:a16="http://schemas.microsoft.com/office/drawing/2014/main" id="{A39B3DE2-1417-4942-904A-8D49B4313380}"/>
              </a:ext>
            </a:extLst>
          </p:cNvPr>
          <p:cNvSpPr/>
          <p:nvPr/>
        </p:nvSpPr>
        <p:spPr>
          <a:xfrm>
            <a:off x="5930293" y="1731435"/>
            <a:ext cx="1412616" cy="1248819"/>
          </a:xfrm>
          <a:custGeom>
            <a:avLst/>
            <a:gdLst>
              <a:gd name="connsiteX0" fmla="*/ 0 w 1473069"/>
              <a:gd name="connsiteY0" fmla="*/ 637133 h 1274265"/>
              <a:gd name="connsiteX1" fmla="*/ 364058 w 1473069"/>
              <a:gd name="connsiteY1" fmla="*/ 0 h 1274265"/>
              <a:gd name="connsiteX2" fmla="*/ 1109011 w 1473069"/>
              <a:gd name="connsiteY2" fmla="*/ 0 h 1274265"/>
              <a:gd name="connsiteX3" fmla="*/ 1473069 w 1473069"/>
              <a:gd name="connsiteY3" fmla="*/ 637133 h 1274265"/>
              <a:gd name="connsiteX4" fmla="*/ 1109011 w 1473069"/>
              <a:gd name="connsiteY4" fmla="*/ 1274265 h 1274265"/>
              <a:gd name="connsiteX5" fmla="*/ 364058 w 1473069"/>
              <a:gd name="connsiteY5" fmla="*/ 1274265 h 1274265"/>
              <a:gd name="connsiteX6" fmla="*/ 0 w 1473069"/>
              <a:gd name="connsiteY6" fmla="*/ 637133 h 1274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3069" h="1274265">
                <a:moveTo>
                  <a:pt x="0" y="637133"/>
                </a:moveTo>
                <a:lnTo>
                  <a:pt x="364058" y="0"/>
                </a:lnTo>
                <a:lnTo>
                  <a:pt x="1109011" y="0"/>
                </a:lnTo>
                <a:lnTo>
                  <a:pt x="1473069" y="637133"/>
                </a:lnTo>
                <a:lnTo>
                  <a:pt x="1109011" y="1274265"/>
                </a:lnTo>
                <a:lnTo>
                  <a:pt x="364058" y="1274265"/>
                </a:lnTo>
                <a:lnTo>
                  <a:pt x="0" y="637133"/>
                </a:lnTo>
                <a:close/>
              </a:path>
            </a:pathLst>
          </a:custGeom>
          <a:solidFill>
            <a:srgbClr val="135CA7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95464" tIns="170756" rIns="195464" bIns="170756" spcCol="1270" anchor="ctr"/>
          <a:lstStyle/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ital One Data Science Team</a:t>
            </a:r>
          </a:p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$250K</a:t>
            </a:r>
          </a:p>
        </p:txBody>
      </p:sp>
      <p:sp>
        <p:nvSpPr>
          <p:cNvPr id="15" name="Freeform 3">
            <a:extLst>
              <a:ext uri="{FF2B5EF4-FFF2-40B4-BE49-F238E27FC236}">
                <a16:creationId xmlns:a16="http://schemas.microsoft.com/office/drawing/2014/main" id="{57D6364B-A494-4D45-B190-363B3B8B78E0}"/>
              </a:ext>
            </a:extLst>
          </p:cNvPr>
          <p:cNvSpPr/>
          <p:nvPr/>
        </p:nvSpPr>
        <p:spPr>
          <a:xfrm>
            <a:off x="7174165" y="3039039"/>
            <a:ext cx="1412616" cy="1248819"/>
          </a:xfrm>
          <a:custGeom>
            <a:avLst/>
            <a:gdLst>
              <a:gd name="connsiteX0" fmla="*/ 0 w 1473069"/>
              <a:gd name="connsiteY0" fmla="*/ 637133 h 1274265"/>
              <a:gd name="connsiteX1" fmla="*/ 364058 w 1473069"/>
              <a:gd name="connsiteY1" fmla="*/ 0 h 1274265"/>
              <a:gd name="connsiteX2" fmla="*/ 1109011 w 1473069"/>
              <a:gd name="connsiteY2" fmla="*/ 0 h 1274265"/>
              <a:gd name="connsiteX3" fmla="*/ 1473069 w 1473069"/>
              <a:gd name="connsiteY3" fmla="*/ 637133 h 1274265"/>
              <a:gd name="connsiteX4" fmla="*/ 1109011 w 1473069"/>
              <a:gd name="connsiteY4" fmla="*/ 1274265 h 1274265"/>
              <a:gd name="connsiteX5" fmla="*/ 364058 w 1473069"/>
              <a:gd name="connsiteY5" fmla="*/ 1274265 h 1274265"/>
              <a:gd name="connsiteX6" fmla="*/ 0 w 1473069"/>
              <a:gd name="connsiteY6" fmla="*/ 637133 h 1274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3069" h="1274265">
                <a:moveTo>
                  <a:pt x="0" y="637133"/>
                </a:moveTo>
                <a:lnTo>
                  <a:pt x="364058" y="0"/>
                </a:lnTo>
                <a:lnTo>
                  <a:pt x="1109011" y="0"/>
                </a:lnTo>
                <a:lnTo>
                  <a:pt x="1473069" y="637133"/>
                </a:lnTo>
                <a:lnTo>
                  <a:pt x="1109011" y="1274265"/>
                </a:lnTo>
                <a:lnTo>
                  <a:pt x="364058" y="1274265"/>
                </a:lnTo>
                <a:lnTo>
                  <a:pt x="0" y="637133"/>
                </a:lnTo>
                <a:close/>
              </a:path>
            </a:pathLst>
          </a:custGeom>
          <a:solidFill>
            <a:srgbClr val="135CA7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95464" tIns="170756" rIns="195464" bIns="170756" spcCol="1270" anchor="ctr"/>
          <a:lstStyle/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ital One Focus Group and Brand Team</a:t>
            </a:r>
          </a:p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$50K</a:t>
            </a:r>
          </a:p>
        </p:txBody>
      </p:sp>
      <p:sp>
        <p:nvSpPr>
          <p:cNvPr id="16" name="Freeform 3">
            <a:extLst>
              <a:ext uri="{FF2B5EF4-FFF2-40B4-BE49-F238E27FC236}">
                <a16:creationId xmlns:a16="http://schemas.microsoft.com/office/drawing/2014/main" id="{250D87C0-0730-4A75-B0F6-E92479AD933F}"/>
              </a:ext>
            </a:extLst>
          </p:cNvPr>
          <p:cNvSpPr/>
          <p:nvPr/>
        </p:nvSpPr>
        <p:spPr>
          <a:xfrm>
            <a:off x="5930293" y="4546129"/>
            <a:ext cx="1412616" cy="1248819"/>
          </a:xfrm>
          <a:custGeom>
            <a:avLst/>
            <a:gdLst>
              <a:gd name="connsiteX0" fmla="*/ 0 w 1473069"/>
              <a:gd name="connsiteY0" fmla="*/ 637133 h 1274265"/>
              <a:gd name="connsiteX1" fmla="*/ 364058 w 1473069"/>
              <a:gd name="connsiteY1" fmla="*/ 0 h 1274265"/>
              <a:gd name="connsiteX2" fmla="*/ 1109011 w 1473069"/>
              <a:gd name="connsiteY2" fmla="*/ 0 h 1274265"/>
              <a:gd name="connsiteX3" fmla="*/ 1473069 w 1473069"/>
              <a:gd name="connsiteY3" fmla="*/ 637133 h 1274265"/>
              <a:gd name="connsiteX4" fmla="*/ 1109011 w 1473069"/>
              <a:gd name="connsiteY4" fmla="*/ 1274265 h 1274265"/>
              <a:gd name="connsiteX5" fmla="*/ 364058 w 1473069"/>
              <a:gd name="connsiteY5" fmla="*/ 1274265 h 1274265"/>
              <a:gd name="connsiteX6" fmla="*/ 0 w 1473069"/>
              <a:gd name="connsiteY6" fmla="*/ 637133 h 1274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3069" h="1274265">
                <a:moveTo>
                  <a:pt x="0" y="637133"/>
                </a:moveTo>
                <a:lnTo>
                  <a:pt x="364058" y="0"/>
                </a:lnTo>
                <a:lnTo>
                  <a:pt x="1109011" y="0"/>
                </a:lnTo>
                <a:lnTo>
                  <a:pt x="1473069" y="637133"/>
                </a:lnTo>
                <a:lnTo>
                  <a:pt x="1109011" y="1274265"/>
                </a:lnTo>
                <a:lnTo>
                  <a:pt x="364058" y="1274265"/>
                </a:lnTo>
                <a:lnTo>
                  <a:pt x="0" y="637133"/>
                </a:lnTo>
                <a:close/>
              </a:path>
            </a:pathLst>
          </a:custGeom>
          <a:solidFill>
            <a:srgbClr val="135CA7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95464" tIns="170756" rIns="195464" bIns="170756" spcCol="1270" anchor="ctr"/>
          <a:lstStyle/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tria Packaging Design</a:t>
            </a:r>
          </a:p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$10K</a:t>
            </a:r>
          </a:p>
        </p:txBody>
      </p:sp>
      <p:sp>
        <p:nvSpPr>
          <p:cNvPr id="17" name="Freeform 3">
            <a:extLst>
              <a:ext uri="{FF2B5EF4-FFF2-40B4-BE49-F238E27FC236}">
                <a16:creationId xmlns:a16="http://schemas.microsoft.com/office/drawing/2014/main" id="{AB9BF5CF-F715-4093-A5A3-69AB446B08CB}"/>
              </a:ext>
            </a:extLst>
          </p:cNvPr>
          <p:cNvSpPr/>
          <p:nvPr/>
        </p:nvSpPr>
        <p:spPr>
          <a:xfrm>
            <a:off x="1809051" y="4574254"/>
            <a:ext cx="1412616" cy="1248819"/>
          </a:xfrm>
          <a:custGeom>
            <a:avLst/>
            <a:gdLst>
              <a:gd name="connsiteX0" fmla="*/ 0 w 1473069"/>
              <a:gd name="connsiteY0" fmla="*/ 637133 h 1274265"/>
              <a:gd name="connsiteX1" fmla="*/ 364058 w 1473069"/>
              <a:gd name="connsiteY1" fmla="*/ 0 h 1274265"/>
              <a:gd name="connsiteX2" fmla="*/ 1109011 w 1473069"/>
              <a:gd name="connsiteY2" fmla="*/ 0 h 1274265"/>
              <a:gd name="connsiteX3" fmla="*/ 1473069 w 1473069"/>
              <a:gd name="connsiteY3" fmla="*/ 637133 h 1274265"/>
              <a:gd name="connsiteX4" fmla="*/ 1109011 w 1473069"/>
              <a:gd name="connsiteY4" fmla="*/ 1274265 h 1274265"/>
              <a:gd name="connsiteX5" fmla="*/ 364058 w 1473069"/>
              <a:gd name="connsiteY5" fmla="*/ 1274265 h 1274265"/>
              <a:gd name="connsiteX6" fmla="*/ 0 w 1473069"/>
              <a:gd name="connsiteY6" fmla="*/ 637133 h 1274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3069" h="1274265">
                <a:moveTo>
                  <a:pt x="0" y="637133"/>
                </a:moveTo>
                <a:lnTo>
                  <a:pt x="364058" y="0"/>
                </a:lnTo>
                <a:lnTo>
                  <a:pt x="1109011" y="0"/>
                </a:lnTo>
                <a:lnTo>
                  <a:pt x="1473069" y="637133"/>
                </a:lnTo>
                <a:lnTo>
                  <a:pt x="1109011" y="1274265"/>
                </a:lnTo>
                <a:lnTo>
                  <a:pt x="364058" y="1274265"/>
                </a:lnTo>
                <a:lnTo>
                  <a:pt x="0" y="637133"/>
                </a:lnTo>
                <a:close/>
              </a:path>
            </a:pathLst>
          </a:custGeom>
          <a:solidFill>
            <a:srgbClr val="135CA7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95464" tIns="170756" rIns="195464" bIns="170756" spcCol="1270" anchor="ctr"/>
          <a:lstStyle/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ghthouse Labs VA Biotech Research Park</a:t>
            </a:r>
          </a:p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$25K</a:t>
            </a:r>
          </a:p>
        </p:txBody>
      </p:sp>
      <p:sp>
        <p:nvSpPr>
          <p:cNvPr id="18" name="Freeform 3">
            <a:extLst>
              <a:ext uri="{FF2B5EF4-FFF2-40B4-BE49-F238E27FC236}">
                <a16:creationId xmlns:a16="http://schemas.microsoft.com/office/drawing/2014/main" id="{8EAE77AA-CCEE-4184-8033-27A23757E3D8}"/>
              </a:ext>
            </a:extLst>
          </p:cNvPr>
          <p:cNvSpPr/>
          <p:nvPr/>
        </p:nvSpPr>
        <p:spPr>
          <a:xfrm>
            <a:off x="1805776" y="1748003"/>
            <a:ext cx="1440922" cy="1248819"/>
          </a:xfrm>
          <a:custGeom>
            <a:avLst/>
            <a:gdLst>
              <a:gd name="connsiteX0" fmla="*/ 0 w 1473069"/>
              <a:gd name="connsiteY0" fmla="*/ 637133 h 1274265"/>
              <a:gd name="connsiteX1" fmla="*/ 364058 w 1473069"/>
              <a:gd name="connsiteY1" fmla="*/ 0 h 1274265"/>
              <a:gd name="connsiteX2" fmla="*/ 1109011 w 1473069"/>
              <a:gd name="connsiteY2" fmla="*/ 0 h 1274265"/>
              <a:gd name="connsiteX3" fmla="*/ 1473069 w 1473069"/>
              <a:gd name="connsiteY3" fmla="*/ 637133 h 1274265"/>
              <a:gd name="connsiteX4" fmla="*/ 1109011 w 1473069"/>
              <a:gd name="connsiteY4" fmla="*/ 1274265 h 1274265"/>
              <a:gd name="connsiteX5" fmla="*/ 364058 w 1473069"/>
              <a:gd name="connsiteY5" fmla="*/ 1274265 h 1274265"/>
              <a:gd name="connsiteX6" fmla="*/ 0 w 1473069"/>
              <a:gd name="connsiteY6" fmla="*/ 637133 h 1274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3069" h="1274265">
                <a:moveTo>
                  <a:pt x="0" y="637133"/>
                </a:moveTo>
                <a:lnTo>
                  <a:pt x="364058" y="0"/>
                </a:lnTo>
                <a:lnTo>
                  <a:pt x="1109011" y="0"/>
                </a:lnTo>
                <a:lnTo>
                  <a:pt x="1473069" y="637133"/>
                </a:lnTo>
                <a:lnTo>
                  <a:pt x="1109011" y="1274265"/>
                </a:lnTo>
                <a:lnTo>
                  <a:pt x="364058" y="1274265"/>
                </a:lnTo>
                <a:lnTo>
                  <a:pt x="0" y="637133"/>
                </a:lnTo>
                <a:close/>
              </a:path>
            </a:pathLst>
          </a:custGeom>
          <a:solidFill>
            <a:srgbClr val="135CA7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95464" tIns="170756" rIns="195464" bIns="170756" spcCol="1270" anchor="ctr"/>
          <a:lstStyle/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hent University Belgium  Clinical Trials</a:t>
            </a:r>
          </a:p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$150K</a:t>
            </a:r>
          </a:p>
        </p:txBody>
      </p:sp>
      <p:sp>
        <p:nvSpPr>
          <p:cNvPr id="19" name="Freeform 3">
            <a:extLst>
              <a:ext uri="{FF2B5EF4-FFF2-40B4-BE49-F238E27FC236}">
                <a16:creationId xmlns:a16="http://schemas.microsoft.com/office/drawing/2014/main" id="{050D7D61-EC0A-4470-B9F6-2BD9484D3F7F}"/>
              </a:ext>
            </a:extLst>
          </p:cNvPr>
          <p:cNvSpPr/>
          <p:nvPr/>
        </p:nvSpPr>
        <p:spPr>
          <a:xfrm>
            <a:off x="581733" y="3039039"/>
            <a:ext cx="1440922" cy="1248819"/>
          </a:xfrm>
          <a:custGeom>
            <a:avLst/>
            <a:gdLst>
              <a:gd name="connsiteX0" fmla="*/ 0 w 1473069"/>
              <a:gd name="connsiteY0" fmla="*/ 637133 h 1274265"/>
              <a:gd name="connsiteX1" fmla="*/ 364058 w 1473069"/>
              <a:gd name="connsiteY1" fmla="*/ 0 h 1274265"/>
              <a:gd name="connsiteX2" fmla="*/ 1109011 w 1473069"/>
              <a:gd name="connsiteY2" fmla="*/ 0 h 1274265"/>
              <a:gd name="connsiteX3" fmla="*/ 1473069 w 1473069"/>
              <a:gd name="connsiteY3" fmla="*/ 637133 h 1274265"/>
              <a:gd name="connsiteX4" fmla="*/ 1109011 w 1473069"/>
              <a:gd name="connsiteY4" fmla="*/ 1274265 h 1274265"/>
              <a:gd name="connsiteX5" fmla="*/ 364058 w 1473069"/>
              <a:gd name="connsiteY5" fmla="*/ 1274265 h 1274265"/>
              <a:gd name="connsiteX6" fmla="*/ 0 w 1473069"/>
              <a:gd name="connsiteY6" fmla="*/ 637133 h 1274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73069" h="1274265">
                <a:moveTo>
                  <a:pt x="0" y="637133"/>
                </a:moveTo>
                <a:lnTo>
                  <a:pt x="364058" y="0"/>
                </a:lnTo>
                <a:lnTo>
                  <a:pt x="1109011" y="0"/>
                </a:lnTo>
                <a:lnTo>
                  <a:pt x="1473069" y="637133"/>
                </a:lnTo>
                <a:lnTo>
                  <a:pt x="1109011" y="1274265"/>
                </a:lnTo>
                <a:lnTo>
                  <a:pt x="364058" y="1274265"/>
                </a:lnTo>
                <a:lnTo>
                  <a:pt x="0" y="637133"/>
                </a:lnTo>
                <a:close/>
              </a:path>
            </a:pathLst>
          </a:custGeom>
          <a:solidFill>
            <a:srgbClr val="135CA7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95464" tIns="170756" rIns="195464" bIns="170756" spcCol="1270" anchor="ctr"/>
          <a:lstStyle/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CU Da Vinci and Brand Centers</a:t>
            </a:r>
          </a:p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$25K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BD92870-0707-4F95-9159-47F748F56C6D}"/>
              </a:ext>
            </a:extLst>
          </p:cNvPr>
          <p:cNvSpPr/>
          <p:nvPr/>
        </p:nvSpPr>
        <p:spPr>
          <a:xfrm>
            <a:off x="2688940" y="2963686"/>
            <a:ext cx="3712061" cy="1585769"/>
          </a:xfrm>
          <a:prstGeom prst="ellipse">
            <a:avLst/>
          </a:prstGeom>
          <a:solidFill>
            <a:srgbClr val="00B050"/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95464" tIns="170756" rIns="195464" bIns="170756" spcCol="1270" anchor="ctr"/>
          <a:lstStyle/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endParaRPr lang="en-US" sz="1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endParaRPr lang="en-US" sz="1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$510,000</a:t>
            </a:r>
          </a:p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rporate and</a:t>
            </a:r>
          </a:p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ademic Partnership</a:t>
            </a:r>
          </a:p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nations</a:t>
            </a:r>
          </a:p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endParaRPr lang="en-US" sz="1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 defTabSz="433388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Footer Placeholder 3">
            <a:extLst>
              <a:ext uri="{FF2B5EF4-FFF2-40B4-BE49-F238E27FC236}">
                <a16:creationId xmlns:a16="http://schemas.microsoft.com/office/drawing/2014/main" id="{F78D66ED-73CD-45F1-BB44-5896E27F6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0" y="6489700"/>
            <a:ext cx="5005388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D7D00D-C9D6-4C88-B2BA-0E131652BB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Investment Overview</a:t>
            </a:r>
          </a:p>
        </p:txBody>
      </p:sp>
      <p:pic>
        <p:nvPicPr>
          <p:cNvPr id="76804" name="Picture 8">
            <a:extLst>
              <a:ext uri="{FF2B5EF4-FFF2-40B4-BE49-F238E27FC236}">
                <a16:creationId xmlns:a16="http://schemas.microsoft.com/office/drawing/2014/main" id="{AACE219A-341F-446B-97F6-A2FC090610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4037D8C-E445-4904-BE00-2C520D8B2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ADB7AFEC-E41B-498E-B710-876A2C471876}" type="slidenum">
              <a:rPr lang="en-US" sz="950" b="1"/>
              <a:pPr>
                <a:defRPr/>
              </a:pPr>
              <a:t>24</a:t>
            </a:fld>
            <a:endParaRPr lang="en-US" sz="950" b="1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233B28F-3994-4D05-81D9-B3054DDFF10F}"/>
              </a:ext>
            </a:extLst>
          </p:cNvPr>
          <p:cNvSpPr/>
          <p:nvPr/>
        </p:nvSpPr>
        <p:spPr>
          <a:xfrm>
            <a:off x="593481" y="2958956"/>
            <a:ext cx="2683853" cy="1658859"/>
          </a:xfrm>
          <a:prstGeom prst="round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eaLnBrk="1" hangingPunct="1">
              <a:defRPr/>
            </a:pPr>
            <a:r>
              <a:rPr lang="en-US" sz="2000" b="1" dirty="0">
                <a:solidFill>
                  <a:schemeClr val="bg1"/>
                </a:solidFill>
              </a:rPr>
              <a:t>Raising $700K at </a:t>
            </a:r>
          </a:p>
          <a:p>
            <a:pPr algn="ctr" defTabSz="685800" eaLnBrk="1" hangingPunct="1">
              <a:defRPr/>
            </a:pPr>
            <a:r>
              <a:rPr lang="en-US" sz="2000" b="1" dirty="0">
                <a:solidFill>
                  <a:schemeClr val="bg1"/>
                </a:solidFill>
              </a:rPr>
              <a:t>$3 million pre-money valuation to enable launch in Q3 2017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4E44BCA-098E-48DC-9AEB-B66A06E48764}"/>
              </a:ext>
            </a:extLst>
          </p:cNvPr>
          <p:cNvSpPr/>
          <p:nvPr/>
        </p:nvSpPr>
        <p:spPr>
          <a:xfrm>
            <a:off x="5088046" y="1653701"/>
            <a:ext cx="3316538" cy="4269368"/>
          </a:xfrm>
          <a:prstGeom prst="roundRect">
            <a:avLst/>
          </a:prstGeom>
          <a:solidFill>
            <a:srgbClr val="274FA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2400" b="1" u="sng" dirty="0">
                <a:solidFill>
                  <a:schemeClr val="bg1"/>
                </a:solidFill>
              </a:rPr>
              <a:t>Use of Proceeds</a:t>
            </a:r>
          </a:p>
          <a:p>
            <a:pPr algn="ctr" eaLnBrk="1" hangingPunct="1">
              <a:defRPr/>
            </a:pPr>
            <a:endParaRPr lang="en-US" b="1" u="sng" dirty="0">
              <a:solidFill>
                <a:schemeClr val="bg1"/>
              </a:solidFill>
            </a:endParaRPr>
          </a:p>
          <a:p>
            <a:pPr eaLnBrk="1" hangingPunct="1">
              <a:defRPr/>
            </a:pPr>
            <a:r>
              <a:rPr lang="en-US" sz="2000" dirty="0">
                <a:solidFill>
                  <a:schemeClr val="bg1"/>
                </a:solidFill>
              </a:rPr>
              <a:t>Legal  	  	  $25K</a:t>
            </a:r>
          </a:p>
          <a:p>
            <a:pPr eaLnBrk="1" hangingPunct="1">
              <a:defRPr/>
            </a:pPr>
            <a:r>
              <a:rPr lang="en-US" sz="2000" dirty="0">
                <a:solidFill>
                  <a:schemeClr val="bg1"/>
                </a:solidFill>
              </a:rPr>
              <a:t>R&amp;D		$120K</a:t>
            </a:r>
          </a:p>
          <a:p>
            <a:pPr eaLnBrk="1" hangingPunct="1">
              <a:defRPr/>
            </a:pPr>
            <a:r>
              <a:rPr lang="en-US" sz="2000" dirty="0">
                <a:solidFill>
                  <a:schemeClr val="bg1"/>
                </a:solidFill>
              </a:rPr>
              <a:t>Marketing	$180K</a:t>
            </a:r>
          </a:p>
          <a:p>
            <a:pPr eaLnBrk="1" hangingPunct="1">
              <a:defRPr/>
            </a:pPr>
            <a:r>
              <a:rPr lang="en-US" sz="2000" dirty="0">
                <a:solidFill>
                  <a:schemeClr val="bg1"/>
                </a:solidFill>
              </a:rPr>
              <a:t>G&amp;A		  $75K</a:t>
            </a:r>
          </a:p>
          <a:p>
            <a:pPr eaLnBrk="1" hangingPunct="1">
              <a:defRPr/>
            </a:pPr>
            <a:r>
              <a:rPr lang="en-US" sz="2000" dirty="0">
                <a:solidFill>
                  <a:schemeClr val="bg1"/>
                </a:solidFill>
              </a:rPr>
              <a:t>Salaries		$116K</a:t>
            </a:r>
          </a:p>
          <a:p>
            <a:pPr eaLnBrk="1" hangingPunct="1">
              <a:defRPr/>
            </a:pPr>
            <a:r>
              <a:rPr lang="en-US" sz="2000" dirty="0">
                <a:solidFill>
                  <a:schemeClr val="bg1"/>
                </a:solidFill>
              </a:rPr>
              <a:t>Inventory	</a:t>
            </a:r>
            <a:r>
              <a:rPr lang="en-US" sz="2000" u="sng" dirty="0">
                <a:solidFill>
                  <a:schemeClr val="bg1"/>
                </a:solidFill>
              </a:rPr>
              <a:t>$184K</a:t>
            </a:r>
          </a:p>
          <a:p>
            <a:pPr eaLnBrk="1" hangingPunct="1">
              <a:defRPr/>
            </a:pPr>
            <a:r>
              <a:rPr lang="en-US" sz="2000" dirty="0">
                <a:solidFill>
                  <a:schemeClr val="bg1"/>
                </a:solidFill>
              </a:rPr>
              <a:t>TOTAL		$700K</a:t>
            </a:r>
          </a:p>
          <a:p>
            <a:pPr eaLnBrk="1" hangingPunct="1">
              <a:defRPr/>
            </a:pP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0851E353-60BE-4257-BAFF-8C3F24C9B41D}"/>
              </a:ext>
            </a:extLst>
          </p:cNvPr>
          <p:cNvSpPr/>
          <p:nvPr/>
        </p:nvSpPr>
        <p:spPr>
          <a:xfrm rot="10800000">
            <a:off x="3752850" y="2130425"/>
            <a:ext cx="1022350" cy="3316288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54">
            <a:extLst>
              <a:ext uri="{FF2B5EF4-FFF2-40B4-BE49-F238E27FC236}">
                <a16:creationId xmlns:a16="http://schemas.microsoft.com/office/drawing/2014/main" id="{9618D89D-B51F-43A3-877C-314F2F9315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2300" y="1895475"/>
            <a:ext cx="1841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865483A-EA82-4AE7-8F90-22A8A29C8E40}"/>
              </a:ext>
            </a:extLst>
          </p:cNvPr>
          <p:cNvGraphicFramePr>
            <a:graphicFrameLocks noGrp="1"/>
          </p:cNvGraphicFramePr>
          <p:nvPr/>
        </p:nvGraphicFramePr>
        <p:xfrm>
          <a:off x="646113" y="1403350"/>
          <a:ext cx="7851775" cy="4313239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2672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44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30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2608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Activity</a:t>
                      </a:r>
                    </a:p>
                  </a:txBody>
                  <a:tcPr marL="91455" marR="91455" marT="45704" marB="45704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Status</a:t>
                      </a:r>
                    </a:p>
                  </a:txBody>
                  <a:tcPr marL="91455" marR="91455" marT="45704" marB="45704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Future Actions</a:t>
                      </a:r>
                    </a:p>
                  </a:txBody>
                  <a:tcPr marL="91455" marR="91455" marT="45704" marB="45704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287"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Brand Logo Design</a:t>
                      </a:r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Complete</a:t>
                      </a:r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800" dirty="0"/>
                        <a:t>Develop sub-brands</a:t>
                      </a:r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2608"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USPTO Copyright</a:t>
                      </a:r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Complete</a:t>
                      </a:r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800" dirty="0"/>
                        <a:t>File with</a:t>
                      </a:r>
                      <a:r>
                        <a:rPr lang="en-US" sz="1800" baseline="0" dirty="0"/>
                        <a:t> USPTO for</a:t>
                      </a:r>
                      <a:r>
                        <a:rPr lang="en-US" sz="1800" dirty="0"/>
                        <a:t> sub-brands</a:t>
                      </a:r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2608"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Website</a:t>
                      </a:r>
                      <a:r>
                        <a:rPr lang="en-US" sz="1800" baseline="0" dirty="0"/>
                        <a:t> URLs</a:t>
                      </a:r>
                      <a:endParaRPr lang="en-US" sz="1800" dirty="0"/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Complete</a:t>
                      </a:r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800" dirty="0"/>
                        <a:t>Build</a:t>
                      </a:r>
                      <a:r>
                        <a:rPr lang="en-US" sz="1800" baseline="0" dirty="0"/>
                        <a:t> website &amp; drive traffic</a:t>
                      </a:r>
                      <a:endParaRPr lang="en-US" sz="1800" dirty="0"/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2608"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USPTO Trademark</a:t>
                      </a:r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Complete</a:t>
                      </a:r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800" dirty="0"/>
                        <a:t>Application filed with USPTO</a:t>
                      </a:r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42974">
                <a:tc>
                  <a:txBody>
                    <a:bodyPr/>
                    <a:lstStyle/>
                    <a:p>
                      <a:pPr algn="l"/>
                      <a:r>
                        <a:rPr lang="en-US" sz="1800" baseline="0" dirty="0"/>
                        <a:t>“Urination, Prediction and Monitoring”</a:t>
                      </a:r>
                      <a:endParaRPr lang="en-US" sz="1800" dirty="0"/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Provisional Patent Filed 7/22/2016</a:t>
                      </a:r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dirty="0"/>
                        <a:t>Predictive alarms using personalized</a:t>
                      </a:r>
                      <a:r>
                        <a:rPr lang="en-US" sz="1800" baseline="0" dirty="0"/>
                        <a:t> </a:t>
                      </a:r>
                      <a:r>
                        <a:rPr lang="en-US" sz="1800" dirty="0"/>
                        <a:t>biometrics &amp; big data analytics engine</a:t>
                      </a:r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21546"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Additional</a:t>
                      </a:r>
                      <a:r>
                        <a:rPr lang="en-US" sz="1800" baseline="0" dirty="0"/>
                        <a:t> 10+ Families of Inventions Under Review</a:t>
                      </a:r>
                      <a:endParaRPr lang="en-US" sz="1800" dirty="0"/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Funding Dependent</a:t>
                      </a:r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dirty="0"/>
                        <a:t>Provisionals to be filed as more technical</a:t>
                      </a:r>
                      <a:r>
                        <a:rPr lang="en-US" sz="1800" baseline="0" dirty="0"/>
                        <a:t> and market information becomes available</a:t>
                      </a:r>
                      <a:endParaRPr lang="en-US" sz="1800" dirty="0"/>
                    </a:p>
                  </a:txBody>
                  <a:tcPr marL="91455" marR="91455" marT="45704" marB="4570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" name="TextBox 7">
            <a:extLst>
              <a:ext uri="{FF2B5EF4-FFF2-40B4-BE49-F238E27FC236}">
                <a16:creationId xmlns:a16="http://schemas.microsoft.com/office/drawing/2014/main" id="{78315ADF-18B8-497C-AAD9-11C9B2B53E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Intellectual Property</a:t>
            </a:r>
          </a:p>
        </p:txBody>
      </p:sp>
      <p:pic>
        <p:nvPicPr>
          <p:cNvPr id="78890" name="Picture 8">
            <a:extLst>
              <a:ext uri="{FF2B5EF4-FFF2-40B4-BE49-F238E27FC236}">
                <a16:creationId xmlns:a16="http://schemas.microsoft.com/office/drawing/2014/main" id="{C693DCE0-2C7C-4F3B-B946-9E9811FA7D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FDCD9EFA-BDE6-480F-BCEE-2618CC657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640602-FB21-4B5D-93ED-E84D83848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4C08AB38-C86C-47EB-8059-96F34A0D24D7}" type="slidenum">
              <a:rPr lang="en-US" sz="950" b="1"/>
              <a:pPr>
                <a:defRPr/>
              </a:pPr>
              <a:t>25</a:t>
            </a:fld>
            <a:endParaRPr lang="en-US" sz="950" b="1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Footer Placeholder 3">
            <a:extLst>
              <a:ext uri="{FF2B5EF4-FFF2-40B4-BE49-F238E27FC236}">
                <a16:creationId xmlns:a16="http://schemas.microsoft.com/office/drawing/2014/main" id="{3A2F8B61-2CD7-473C-9F5B-405968FC1F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0" y="6489700"/>
            <a:ext cx="5005388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2DC1EF-FE78-464C-8894-B3D697F956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The Management Team</a:t>
            </a:r>
          </a:p>
        </p:txBody>
      </p:sp>
      <p:pic>
        <p:nvPicPr>
          <p:cNvPr id="80900" name="Picture 8">
            <a:extLst>
              <a:ext uri="{FF2B5EF4-FFF2-40B4-BE49-F238E27FC236}">
                <a16:creationId xmlns:a16="http://schemas.microsoft.com/office/drawing/2014/main" id="{BA523A20-2F9F-4E94-92D3-EB0F3D905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51DA491-E52B-40D4-99B1-FF8BB8D51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0CF2D44E-46D2-4C88-9577-15DE9F1C1785}" type="slidenum">
              <a:rPr lang="en-US" sz="950" b="1"/>
              <a:pPr>
                <a:defRPr/>
              </a:pPr>
              <a:t>26</a:t>
            </a:fld>
            <a:endParaRPr lang="en-US" sz="95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C22465-3EB6-4555-A69B-4A273D823655}"/>
              </a:ext>
            </a:extLst>
          </p:cNvPr>
          <p:cNvSpPr txBox="1"/>
          <p:nvPr/>
        </p:nvSpPr>
        <p:spPr>
          <a:xfrm>
            <a:off x="674688" y="1524000"/>
            <a:ext cx="2286000" cy="18494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spcAft>
                <a:spcPts val="450"/>
              </a:spcAft>
              <a:defRPr/>
            </a:pPr>
            <a:r>
              <a:rPr lang="en-US" sz="2000" b="1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Jon Coble</a:t>
            </a:r>
          </a:p>
          <a:p>
            <a:pPr algn="ctr" eaLnBrk="1" hangingPunct="1">
              <a:defRPr/>
            </a:pPr>
            <a:r>
              <a:rPr lang="en-US" sz="16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Co-Founder &amp; CEO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 err="1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Respond.com</a:t>
            </a:r>
            <a:endParaRPr lang="en-US" sz="1400" dirty="0">
              <a:latin typeface="Tw Cen MT" charset="0"/>
              <a:ea typeface="ＭＳ Ｐゴシック" pitchFamily="-72" charset="-128"/>
              <a:cs typeface="ＭＳ Ｐゴシック" pitchFamily="-72" charset="-128"/>
            </a:endParaRP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Capital One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Spiegel – Eddie Bauer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Mercer Management Consult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478EEF2-F1BC-48D0-A693-993D5DEE21B9}"/>
              </a:ext>
            </a:extLst>
          </p:cNvPr>
          <p:cNvSpPr txBox="1"/>
          <p:nvPr/>
        </p:nvSpPr>
        <p:spPr>
          <a:xfrm>
            <a:off x="5794375" y="1524000"/>
            <a:ext cx="2779713" cy="15716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spcAft>
                <a:spcPts val="450"/>
              </a:spcAft>
              <a:defRPr/>
            </a:pPr>
            <a:r>
              <a:rPr lang="en-US" sz="2000" b="1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Timothy Baker </a:t>
            </a:r>
          </a:p>
          <a:p>
            <a:pPr algn="ctr" eaLnBrk="1" hangingPunct="1">
              <a:defRPr/>
            </a:pPr>
            <a:r>
              <a:rPr lang="en-US" sz="16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Co-Founder, President &amp; CMO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US Navy Medical Corps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Regeneris Medical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Bosley Medical Group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Assurant Healthca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913CF51-E7CD-454E-A5E9-51425AE0434C}"/>
              </a:ext>
            </a:extLst>
          </p:cNvPr>
          <p:cNvSpPr txBox="1"/>
          <p:nvPr/>
        </p:nvSpPr>
        <p:spPr>
          <a:xfrm>
            <a:off x="3486150" y="2657475"/>
            <a:ext cx="2009775" cy="22177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spcAft>
                <a:spcPts val="450"/>
              </a:spcAft>
              <a:defRPr/>
            </a:pPr>
            <a:r>
              <a:rPr lang="en-US" sz="2000" b="1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Dr. Israel Franco</a:t>
            </a:r>
          </a:p>
          <a:p>
            <a:pPr algn="ctr" eaLnBrk="1" hangingPunct="1">
              <a:defRPr/>
            </a:pPr>
            <a:r>
              <a:rPr lang="en-US" sz="16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Chief Science Officer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Board Certified Pediatric Urologist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Yale Children’s Continence Center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International Children’s Continence Society Board</a:t>
            </a:r>
          </a:p>
        </p:txBody>
      </p:sp>
      <p:grpSp>
        <p:nvGrpSpPr>
          <p:cNvPr id="80905" name="Group 13">
            <a:extLst>
              <a:ext uri="{FF2B5EF4-FFF2-40B4-BE49-F238E27FC236}">
                <a16:creationId xmlns:a16="http://schemas.microsoft.com/office/drawing/2014/main" id="{E80A196A-3D8C-4C12-BF3E-1775BC11E932}"/>
              </a:ext>
            </a:extLst>
          </p:cNvPr>
          <p:cNvGrpSpPr>
            <a:grpSpLocks/>
          </p:cNvGrpSpPr>
          <p:nvPr/>
        </p:nvGrpSpPr>
        <p:grpSpPr bwMode="auto">
          <a:xfrm>
            <a:off x="2187575" y="5413375"/>
            <a:ext cx="4768850" cy="1168400"/>
            <a:chOff x="-93967" y="4528157"/>
            <a:chExt cx="9144000" cy="1557137"/>
          </a:xfrm>
        </p:grpSpPr>
        <p:grpSp>
          <p:nvGrpSpPr>
            <p:cNvPr id="80914" name="Group 14">
              <a:extLst>
                <a:ext uri="{FF2B5EF4-FFF2-40B4-BE49-F238E27FC236}">
                  <a16:creationId xmlns:a16="http://schemas.microsoft.com/office/drawing/2014/main" id="{0D0D753D-F885-41EB-B646-488C4F9DD21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39782" y="4947965"/>
              <a:ext cx="7103132" cy="1137329"/>
              <a:chOff x="721253" y="2020369"/>
              <a:chExt cx="7103132" cy="1137329"/>
            </a:xfrm>
          </p:grpSpPr>
          <p:sp>
            <p:nvSpPr>
              <p:cNvPr id="80916" name="TextBox 7">
                <a:extLst>
                  <a:ext uri="{FF2B5EF4-FFF2-40B4-BE49-F238E27FC236}">
                    <a16:creationId xmlns:a16="http://schemas.microsoft.com/office/drawing/2014/main" id="{BBC642EC-1F17-449F-87D3-870F39F4DC3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21253" y="2049702"/>
                <a:ext cx="2067625" cy="11079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 eaLnBrk="1" hangingPunct="1"/>
                <a:r>
                  <a:rPr lang="en-US" altLang="en-US" sz="1200" b="1">
                    <a:latin typeface="Tw Cen MT" panose="020B0602020104020603" pitchFamily="34" charset="0"/>
                  </a:rPr>
                  <a:t>Gary LeClair</a:t>
                </a:r>
              </a:p>
              <a:p>
                <a:pPr algn="ctr" eaLnBrk="1" hangingPunct="1"/>
                <a:r>
                  <a:rPr lang="en-US" altLang="en-US" sz="1200" i="1">
                    <a:latin typeface="Tw Cen MT" panose="020B0602020104020603" pitchFamily="34" charset="0"/>
                  </a:rPr>
                  <a:t>LeClair Ryan</a:t>
                </a:r>
              </a:p>
              <a:p>
                <a:pPr algn="ctr" eaLnBrk="1" hangingPunct="1"/>
                <a:r>
                  <a:rPr lang="en-US" altLang="en-US" sz="1200">
                    <a:latin typeface="Tw Cen MT" panose="020B0602020104020603" pitchFamily="34" charset="0"/>
                  </a:rPr>
                  <a:t>(Legal &amp; Corporate)</a:t>
                </a:r>
              </a:p>
            </p:txBody>
          </p:sp>
          <p:sp>
            <p:nvSpPr>
              <p:cNvPr id="80917" name="TextBox 7">
                <a:extLst>
                  <a:ext uri="{FF2B5EF4-FFF2-40B4-BE49-F238E27FC236}">
                    <a16:creationId xmlns:a16="http://schemas.microsoft.com/office/drawing/2014/main" id="{FB1DF89F-42EC-4EEA-BB57-6769A96E502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07003" y="2049702"/>
                <a:ext cx="1905000" cy="11079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 eaLnBrk="1" hangingPunct="1"/>
                <a:r>
                  <a:rPr lang="en-US" altLang="en-US" sz="1200" b="1">
                    <a:latin typeface="Tw Cen MT" panose="020B0602020104020603" pitchFamily="34" charset="0"/>
                  </a:rPr>
                  <a:t>Carroll Hurst</a:t>
                </a:r>
              </a:p>
              <a:p>
                <a:pPr algn="ctr" eaLnBrk="1" hangingPunct="1"/>
                <a:r>
                  <a:rPr lang="en-US" altLang="en-US" sz="1200" i="1">
                    <a:latin typeface="Tw Cen MT" panose="020B0602020104020603" pitchFamily="34" charset="0"/>
                  </a:rPr>
                  <a:t>Keiter Stephens</a:t>
                </a:r>
              </a:p>
              <a:p>
                <a:pPr algn="ctr" eaLnBrk="1" hangingPunct="1"/>
                <a:r>
                  <a:rPr lang="en-US" altLang="en-US" sz="1200">
                    <a:latin typeface="Tw Cen MT" panose="020B0602020104020603" pitchFamily="34" charset="0"/>
                  </a:rPr>
                  <a:t>(Financial)</a:t>
                </a:r>
              </a:p>
            </p:txBody>
          </p:sp>
          <p:sp>
            <p:nvSpPr>
              <p:cNvPr id="80918" name="TextBox 7">
                <a:extLst>
                  <a:ext uri="{FF2B5EF4-FFF2-40B4-BE49-F238E27FC236}">
                    <a16:creationId xmlns:a16="http://schemas.microsoft.com/office/drawing/2014/main" id="{B40A9727-2F0E-4FDC-BDCF-6FC92E79816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60590" y="2020369"/>
                <a:ext cx="2263795" cy="11079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 eaLnBrk="1" hangingPunct="1"/>
                <a:r>
                  <a:rPr lang="en-US" altLang="en-US" sz="1200" b="1">
                    <a:latin typeface="Tw Cen MT" panose="020B0602020104020603" pitchFamily="34" charset="0"/>
                  </a:rPr>
                  <a:t>Lonnie Green</a:t>
                </a:r>
              </a:p>
              <a:p>
                <a:pPr algn="ctr" eaLnBrk="1" hangingPunct="1"/>
                <a:r>
                  <a:rPr lang="en-US" altLang="en-US" sz="1200" i="1">
                    <a:latin typeface="Tw Cen MT" panose="020B0602020104020603" pitchFamily="34" charset="0"/>
                  </a:rPr>
                  <a:t>Board Certified Urologist</a:t>
                </a:r>
              </a:p>
              <a:p>
                <a:pPr algn="ctr" eaLnBrk="1" hangingPunct="1"/>
                <a:r>
                  <a:rPr lang="en-US" altLang="en-US" sz="1200">
                    <a:latin typeface="Tw Cen MT" panose="020B0602020104020603" pitchFamily="34" charset="0"/>
                  </a:rPr>
                  <a:t>(Medical)</a:t>
                </a:r>
              </a:p>
            </p:txBody>
          </p:sp>
        </p:grpSp>
        <p:sp>
          <p:nvSpPr>
            <p:cNvPr id="80915" name="TextBox 7">
              <a:extLst>
                <a:ext uri="{FF2B5EF4-FFF2-40B4-BE49-F238E27FC236}">
                  <a16:creationId xmlns:a16="http://schemas.microsoft.com/office/drawing/2014/main" id="{7813BAF4-42FB-4957-A3D5-62D0535C3A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93967" y="4528157"/>
              <a:ext cx="9144000" cy="5334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>
                <a:spcAft>
                  <a:spcPts val="450"/>
                </a:spcAft>
              </a:pPr>
              <a:r>
                <a:rPr lang="en-US" altLang="en-US" sz="2000" b="1">
                  <a:latin typeface="Tw Cen MT" panose="020B0602020104020603" pitchFamily="34" charset="0"/>
                </a:rPr>
                <a:t>Board of Advisors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5B79DD0C-972C-4C3D-9435-75DC58E72190}"/>
              </a:ext>
            </a:extLst>
          </p:cNvPr>
          <p:cNvSpPr txBox="1"/>
          <p:nvPr/>
        </p:nvSpPr>
        <p:spPr>
          <a:xfrm>
            <a:off x="573088" y="3586163"/>
            <a:ext cx="2286000" cy="21097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spcAft>
                <a:spcPts val="450"/>
              </a:spcAft>
              <a:defRPr/>
            </a:pPr>
            <a:r>
              <a:rPr lang="en-US" sz="2000" b="1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Mike Kohonoski</a:t>
            </a:r>
          </a:p>
          <a:p>
            <a:pPr algn="ctr" eaLnBrk="1" hangingPunct="1">
              <a:defRPr/>
            </a:pPr>
            <a:r>
              <a:rPr lang="en-US" sz="16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Chief Operating Officer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Privaris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Respond.com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 err="1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Authentica</a:t>
            </a: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 Security Technologies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The Guild Corporation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endParaRPr lang="en-US" sz="1050" dirty="0">
              <a:latin typeface="Tw Cen MT" charset="0"/>
              <a:ea typeface="ＭＳ Ｐゴシック" pitchFamily="-72" charset="-128"/>
              <a:cs typeface="ＭＳ Ｐゴシック" pitchFamily="-72" charset="-128"/>
            </a:endParaRP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endParaRPr lang="en-US" sz="1050" dirty="0">
              <a:latin typeface="Tw Cen MT" charset="0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76AEED6-4868-49E2-81EC-4393A11DA7F9}"/>
              </a:ext>
            </a:extLst>
          </p:cNvPr>
          <p:cNvSpPr txBox="1"/>
          <p:nvPr/>
        </p:nvSpPr>
        <p:spPr>
          <a:xfrm>
            <a:off x="5846763" y="3586163"/>
            <a:ext cx="2265362" cy="15716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spcAft>
                <a:spcPts val="450"/>
              </a:spcAft>
              <a:defRPr/>
            </a:pPr>
            <a:r>
              <a:rPr lang="en-US" sz="2000" b="1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Steven Zyglowicz</a:t>
            </a:r>
          </a:p>
          <a:p>
            <a:pPr algn="ctr" eaLnBrk="1" hangingPunct="1">
              <a:defRPr/>
            </a:pPr>
            <a:r>
              <a:rPr lang="en-US" sz="16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Chief Technology Officer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ABB-</a:t>
            </a:r>
            <a:r>
              <a:rPr lang="en-US" sz="1400" dirty="0" err="1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Ventyx</a:t>
            </a:r>
            <a:endParaRPr lang="en-US" sz="1400" dirty="0">
              <a:latin typeface="Tw Cen MT" charset="0"/>
              <a:ea typeface="ＭＳ Ｐゴシック" pitchFamily="-72" charset="-128"/>
              <a:cs typeface="ＭＳ Ｐゴシック" pitchFamily="-72" charset="-128"/>
            </a:endParaRP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 err="1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Respond.com</a:t>
            </a:r>
            <a:endParaRPr lang="en-US" sz="1400" dirty="0">
              <a:latin typeface="Tw Cen MT" charset="0"/>
              <a:ea typeface="ＭＳ Ｐゴシック" pitchFamily="-72" charset="-128"/>
              <a:cs typeface="ＭＳ Ｐゴシック" pitchFamily="-72" charset="-128"/>
            </a:endParaRP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Decision Science</a:t>
            </a:r>
          </a:p>
          <a:p>
            <a:pPr marL="214313" indent="-102870" eaLnBrk="1" hangingPunct="1"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latin typeface="Tw Cen MT" charset="0"/>
                <a:ea typeface="ＭＳ Ｐゴシック" pitchFamily="-72" charset="-128"/>
                <a:cs typeface="ＭＳ Ｐゴシック" pitchFamily="-72" charset="-128"/>
              </a:rPr>
              <a:t>E-System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7C22337-2108-496D-87A8-7A481A10B7DF}"/>
              </a:ext>
            </a:extLst>
          </p:cNvPr>
          <p:cNvCxnSpPr>
            <a:cxnSpLocks/>
          </p:cNvCxnSpPr>
          <p:nvPr/>
        </p:nvCxnSpPr>
        <p:spPr>
          <a:xfrm>
            <a:off x="3103563" y="5761038"/>
            <a:ext cx="2624137" cy="0"/>
          </a:xfrm>
          <a:prstGeom prst="line">
            <a:avLst/>
          </a:prstGeom>
          <a:ln w="222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E09083F-48A3-468A-A765-81240FDA5FCC}"/>
              </a:ext>
            </a:extLst>
          </p:cNvPr>
          <p:cNvCxnSpPr>
            <a:cxnSpLocks/>
          </p:cNvCxnSpPr>
          <p:nvPr/>
        </p:nvCxnSpPr>
        <p:spPr>
          <a:xfrm>
            <a:off x="5970588" y="3968750"/>
            <a:ext cx="2216150" cy="0"/>
          </a:xfrm>
          <a:prstGeom prst="line">
            <a:avLst/>
          </a:prstGeom>
          <a:ln w="222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7725675-4176-4027-A72F-4AFA151F2ACA}"/>
              </a:ext>
            </a:extLst>
          </p:cNvPr>
          <p:cNvCxnSpPr>
            <a:cxnSpLocks/>
          </p:cNvCxnSpPr>
          <p:nvPr/>
        </p:nvCxnSpPr>
        <p:spPr>
          <a:xfrm>
            <a:off x="904875" y="3968750"/>
            <a:ext cx="1825625" cy="1588"/>
          </a:xfrm>
          <a:prstGeom prst="line">
            <a:avLst/>
          </a:prstGeom>
          <a:ln w="222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9D27069-29FF-4EE0-9AF0-E16D6532CFC5}"/>
              </a:ext>
            </a:extLst>
          </p:cNvPr>
          <p:cNvCxnSpPr>
            <a:cxnSpLocks/>
          </p:cNvCxnSpPr>
          <p:nvPr/>
        </p:nvCxnSpPr>
        <p:spPr>
          <a:xfrm>
            <a:off x="3487738" y="3043238"/>
            <a:ext cx="2008187" cy="1587"/>
          </a:xfrm>
          <a:prstGeom prst="line">
            <a:avLst/>
          </a:prstGeom>
          <a:ln w="222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2B513F4-178E-45F2-AEF5-D6C8DA8DCD98}"/>
              </a:ext>
            </a:extLst>
          </p:cNvPr>
          <p:cNvCxnSpPr>
            <a:cxnSpLocks/>
          </p:cNvCxnSpPr>
          <p:nvPr/>
        </p:nvCxnSpPr>
        <p:spPr>
          <a:xfrm>
            <a:off x="5970588" y="1911350"/>
            <a:ext cx="2603500" cy="0"/>
          </a:xfrm>
          <a:prstGeom prst="line">
            <a:avLst/>
          </a:prstGeom>
          <a:ln w="222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E0E275-66B9-4A04-ADF7-717805075202}"/>
              </a:ext>
            </a:extLst>
          </p:cNvPr>
          <p:cNvCxnSpPr>
            <a:cxnSpLocks/>
          </p:cNvCxnSpPr>
          <p:nvPr/>
        </p:nvCxnSpPr>
        <p:spPr>
          <a:xfrm>
            <a:off x="904875" y="1911350"/>
            <a:ext cx="1825625" cy="0"/>
          </a:xfrm>
          <a:prstGeom prst="line">
            <a:avLst/>
          </a:prstGeom>
          <a:ln w="222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ubtitle 2">
            <a:extLst>
              <a:ext uri="{FF2B5EF4-FFF2-40B4-BE49-F238E27FC236}">
                <a16:creationId xmlns:a16="http://schemas.microsoft.com/office/drawing/2014/main" id="{FE9FCE5A-C305-4919-AF1F-D791B3FE50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07113" y="5557838"/>
            <a:ext cx="2865437" cy="490537"/>
          </a:xfrm>
        </p:spPr>
        <p:txBody>
          <a:bodyPr>
            <a:noAutofit/>
          </a:bodyPr>
          <a:lstStyle/>
          <a:p>
            <a:pPr algn="r" fontAlgn="auto">
              <a:spcBef>
                <a:spcPts val="0"/>
              </a:spcBef>
              <a:spcAft>
                <a:spcPts val="450"/>
              </a:spcAft>
              <a:defRPr/>
            </a:pPr>
            <a:r>
              <a:rPr lang="en-US" sz="9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on Coble ~ jon@mygogoband.com</a:t>
            </a:r>
          </a:p>
          <a:p>
            <a: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imothy Baker ~ timothy@mygogoband.com</a:t>
            </a:r>
          </a:p>
        </p:txBody>
      </p:sp>
      <p:sp>
        <p:nvSpPr>
          <p:cNvPr id="82947" name="Rectangle 54">
            <a:extLst>
              <a:ext uri="{FF2B5EF4-FFF2-40B4-BE49-F238E27FC236}">
                <a16:creationId xmlns:a16="http://schemas.microsoft.com/office/drawing/2014/main" id="{E689C5BD-8560-46BC-861E-92CA24A22A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1225" y="1924050"/>
            <a:ext cx="1841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4C338EB-25FD-4B86-A0D3-C62E703448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074" y="1148493"/>
            <a:ext cx="8511852" cy="3917484"/>
          </a:xfrm>
          <a:prstGeom prst="rect">
            <a:avLst/>
          </a:prstGeom>
          <a:effectLst>
            <a:softEdge rad="292100"/>
          </a:effectLst>
        </p:spPr>
      </p:pic>
      <p:grpSp>
        <p:nvGrpSpPr>
          <p:cNvPr id="82949" name="Group 3">
            <a:extLst>
              <a:ext uri="{FF2B5EF4-FFF2-40B4-BE49-F238E27FC236}">
                <a16:creationId xmlns:a16="http://schemas.microsoft.com/office/drawing/2014/main" id="{73FE6CE8-F42C-4FE8-9F34-A968CAE3BA37}"/>
              </a:ext>
            </a:extLst>
          </p:cNvPr>
          <p:cNvGrpSpPr>
            <a:grpSpLocks/>
          </p:cNvGrpSpPr>
          <p:nvPr/>
        </p:nvGrpSpPr>
        <p:grpSpPr bwMode="auto">
          <a:xfrm>
            <a:off x="0" y="6119813"/>
            <a:ext cx="9267825" cy="496887"/>
            <a:chOff x="0" y="5353855"/>
            <a:chExt cx="9267825" cy="496604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B285D8F-46AD-413F-80BF-82DA07BD6B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5535851"/>
              <a:ext cx="1684746" cy="166656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B9C112F-9342-4F9F-BEDA-462CCDC3E6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983502" y="5530823"/>
              <a:ext cx="1684746" cy="166656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5884621-C1B4-42F3-B6D5-8AB84892B36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472693" y="5496809"/>
              <a:ext cx="1728438" cy="226984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FA115FF3-5A36-4C7A-9C3C-3EDDD1C156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539388" y="5515524"/>
              <a:ext cx="1728437" cy="165722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FA97921-EA5F-472E-BBD2-82E6C75086A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027887" y="5353855"/>
              <a:ext cx="1684746" cy="496604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046CCD1C-3EEE-4613-9422-C677737B9DD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511502" y="5500659"/>
              <a:ext cx="1728438" cy="226984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</p:grpSp>
      <p:sp>
        <p:nvSpPr>
          <p:cNvPr id="26" name="TextBox 7">
            <a:extLst>
              <a:ext uri="{FF2B5EF4-FFF2-40B4-BE49-F238E27FC236}">
                <a16:creationId xmlns:a16="http://schemas.microsoft.com/office/drawing/2014/main" id="{8195F2ED-CE08-44DA-BF0F-26730FA63C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Improving Children’s Lives</a:t>
            </a:r>
          </a:p>
        </p:txBody>
      </p:sp>
      <p:pic>
        <p:nvPicPr>
          <p:cNvPr id="82951" name="Picture 26">
            <a:extLst>
              <a:ext uri="{FF2B5EF4-FFF2-40B4-BE49-F238E27FC236}">
                <a16:creationId xmlns:a16="http://schemas.microsoft.com/office/drawing/2014/main" id="{E6824846-5182-4E67-928F-7BDCF9948A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Footer Placeholder 3">
            <a:extLst>
              <a:ext uri="{FF2B5EF4-FFF2-40B4-BE49-F238E27FC236}">
                <a16:creationId xmlns:a16="http://schemas.microsoft.com/office/drawing/2014/main" id="{815C9BC8-33EA-4B71-9380-E108B3ADA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B3B28294-A1EC-4911-AF6A-0C0E14F7F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A3B7F926-5CF8-4DA1-8FD8-CD34F8AC1655}" type="slidenum">
              <a:rPr lang="en-US" sz="950" b="1"/>
              <a:pPr>
                <a:defRPr/>
              </a:pPr>
              <a:t>27</a:t>
            </a:fld>
            <a:endParaRPr lang="en-US" sz="950" b="1" dirty="0"/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6A415F12-E870-4FC2-8DDA-3DA9C523CD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38" y="4926013"/>
            <a:ext cx="9144000" cy="65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…And Their Families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Box 7">
            <a:extLst>
              <a:ext uri="{FF2B5EF4-FFF2-40B4-BE49-F238E27FC236}">
                <a16:creationId xmlns:a16="http://schemas.microsoft.com/office/drawing/2014/main" id="{FF35D8D6-B6F9-4777-AF17-152D527568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71488"/>
            <a:ext cx="9144000" cy="65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Product Launch Strategy</a:t>
            </a:r>
          </a:p>
        </p:txBody>
      </p:sp>
      <p:grpSp>
        <p:nvGrpSpPr>
          <p:cNvPr id="84995" name="Group 8">
            <a:extLst>
              <a:ext uri="{FF2B5EF4-FFF2-40B4-BE49-F238E27FC236}">
                <a16:creationId xmlns:a16="http://schemas.microsoft.com/office/drawing/2014/main" id="{BEF55044-B8B9-401E-8AB4-CA4AECF77B2D}"/>
              </a:ext>
            </a:extLst>
          </p:cNvPr>
          <p:cNvGrpSpPr>
            <a:grpSpLocks/>
          </p:cNvGrpSpPr>
          <p:nvPr/>
        </p:nvGrpSpPr>
        <p:grpSpPr bwMode="auto">
          <a:xfrm>
            <a:off x="293688" y="1631950"/>
            <a:ext cx="8296275" cy="3838575"/>
            <a:chOff x="292044" y="1765297"/>
            <a:chExt cx="8115901" cy="3779196"/>
          </a:xfrm>
        </p:grpSpPr>
        <p:sp>
          <p:nvSpPr>
            <p:cNvPr id="93" name="Rectangle 69">
              <a:extLst>
                <a:ext uri="{FF2B5EF4-FFF2-40B4-BE49-F238E27FC236}">
                  <a16:creationId xmlns:a16="http://schemas.microsoft.com/office/drawing/2014/main" id="{70CAEAB4-6AEF-437B-B19E-80DE253406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362" y="2035687"/>
              <a:ext cx="1267236" cy="1625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r" eaLnBrk="1" hangingPunct="1">
                <a:defRPr/>
              </a:pPr>
              <a:r>
                <a:rPr lang="en-US" sz="1050" b="1" dirty="0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GOGO BAND V1</a:t>
              </a:r>
              <a:endParaRPr lang="en-US" sz="1050" b="1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85015" name="Rectangle 83">
              <a:extLst>
                <a:ext uri="{FF2B5EF4-FFF2-40B4-BE49-F238E27FC236}">
                  <a16:creationId xmlns:a16="http://schemas.microsoft.com/office/drawing/2014/main" id="{22EFA9FB-4AD2-421C-8DB5-2133F5E462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311" y="2466697"/>
              <a:ext cx="1052512" cy="3030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eaLnBrk="1" hangingPunct="1"/>
              <a:r>
                <a:rPr lang="en-US" altLang="en-US" sz="1000" b="1">
                  <a:solidFill>
                    <a:srgbClr val="000000"/>
                  </a:solidFill>
                  <a:latin typeface="Verdana" panose="020B0604030504040204" pitchFamily="34" charset="0"/>
                </a:rPr>
                <a:t>GOGO Urine Sensor</a:t>
              </a:r>
              <a:endParaRPr lang="en-US" altLang="en-US" sz="1000" b="1"/>
            </a:p>
          </p:txBody>
        </p:sp>
        <p:sp>
          <p:nvSpPr>
            <p:cNvPr id="95" name="Rectangle 84">
              <a:extLst>
                <a:ext uri="{FF2B5EF4-FFF2-40B4-BE49-F238E27FC236}">
                  <a16:creationId xmlns:a16="http://schemas.microsoft.com/office/drawing/2014/main" id="{A8B89751-4EC6-46E8-B248-3814321D79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892" y="3085984"/>
              <a:ext cx="1237729" cy="3188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r" eaLnBrk="1" hangingPunct="1">
                <a:defRPr/>
              </a:pPr>
              <a:r>
                <a:rPr lang="en-US" sz="1050" b="1" dirty="0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GOGO Gateway</a:t>
              </a:r>
            </a:p>
            <a:p>
              <a:pPr algn="r" eaLnBrk="1" hangingPunct="1">
                <a:defRPr/>
              </a:pPr>
              <a:r>
                <a:rPr lang="en-US" sz="1050" b="1" dirty="0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Hardware</a:t>
              </a:r>
              <a:endParaRPr lang="en-US" sz="1050" b="1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85017" name="Rectangle 85">
              <a:extLst>
                <a:ext uri="{FF2B5EF4-FFF2-40B4-BE49-F238E27FC236}">
                  <a16:creationId xmlns:a16="http://schemas.microsoft.com/office/drawing/2014/main" id="{E82F113C-1C3F-4F94-BC05-AE124896A7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006" y="4161587"/>
              <a:ext cx="1276351" cy="1515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eaLnBrk="1" hangingPunct="1"/>
              <a:r>
                <a:rPr lang="en-US" altLang="en-US" sz="1000" b="1">
                  <a:solidFill>
                    <a:srgbClr val="000000"/>
                  </a:solidFill>
                  <a:latin typeface="Verdana" panose="020B0604030504040204" pitchFamily="34" charset="0"/>
                </a:rPr>
                <a:t>IPAS Software</a:t>
              </a:r>
              <a:endParaRPr lang="en-US" altLang="en-US" sz="1000" b="1"/>
            </a:p>
          </p:txBody>
        </p:sp>
        <p:sp>
          <p:nvSpPr>
            <p:cNvPr id="97" name="Rectangle 86">
              <a:extLst>
                <a:ext uri="{FF2B5EF4-FFF2-40B4-BE49-F238E27FC236}">
                  <a16:creationId xmlns:a16="http://schemas.microsoft.com/office/drawing/2014/main" id="{4F05F51C-6556-47F7-88EF-5589843A7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044" y="3595504"/>
              <a:ext cx="1276554" cy="317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r" eaLnBrk="1" hangingPunct="1">
                <a:defRPr/>
              </a:pPr>
              <a:r>
                <a:rPr lang="en-US" sz="1050" b="1" dirty="0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GOGO Gateway</a:t>
              </a:r>
            </a:p>
            <a:p>
              <a:pPr algn="r" eaLnBrk="1" hangingPunct="1">
                <a:defRPr/>
              </a:pPr>
              <a:r>
                <a:rPr lang="en-US" sz="1050" b="1" dirty="0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Software</a:t>
              </a:r>
              <a:endParaRPr lang="en-US" sz="1050" b="1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98" name="Rectangle 87">
              <a:extLst>
                <a:ext uri="{FF2B5EF4-FFF2-40B4-BE49-F238E27FC236}">
                  <a16:creationId xmlns:a16="http://schemas.microsoft.com/office/drawing/2014/main" id="{BD87DB18-D001-458E-9B09-3A620D74DC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882" y="4714571"/>
              <a:ext cx="1181822" cy="159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r" eaLnBrk="1" hangingPunct="1">
                <a:defRPr/>
              </a:pPr>
              <a:r>
                <a:rPr lang="en-US" sz="1050" b="1" dirty="0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Website &amp; App</a:t>
              </a:r>
              <a:endParaRPr lang="en-US" sz="1050" b="1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85020" name="Rectangle 58">
              <a:extLst>
                <a:ext uri="{FF2B5EF4-FFF2-40B4-BE49-F238E27FC236}">
                  <a16:creationId xmlns:a16="http://schemas.microsoft.com/office/drawing/2014/main" id="{112D6074-9F15-4D2B-8433-B0EA3EEBEA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63751" y="5295968"/>
              <a:ext cx="239002" cy="245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000" b="1">
                  <a:solidFill>
                    <a:srgbClr val="000000"/>
                  </a:solidFill>
                  <a:latin typeface="Verdana" panose="020B0604030504040204" pitchFamily="34" charset="0"/>
                </a:rPr>
                <a:t>Jan</a:t>
              </a:r>
              <a:endParaRPr lang="en-US" altLang="en-US"/>
            </a:p>
          </p:txBody>
        </p:sp>
        <p:sp>
          <p:nvSpPr>
            <p:cNvPr id="85021" name="Rectangle 90">
              <a:extLst>
                <a:ext uri="{FF2B5EF4-FFF2-40B4-BE49-F238E27FC236}">
                  <a16:creationId xmlns:a16="http://schemas.microsoft.com/office/drawing/2014/main" id="{A3BAE10E-4CF2-4C42-9413-AC9AD3210A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4697" y="5294046"/>
              <a:ext cx="249866" cy="245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000" b="1">
                  <a:solidFill>
                    <a:srgbClr val="000000"/>
                  </a:solidFill>
                  <a:latin typeface="Verdana" panose="020B0604030504040204" pitchFamily="34" charset="0"/>
                </a:rPr>
                <a:t>Feb</a:t>
              </a:r>
              <a:endParaRPr lang="en-US" altLang="en-US"/>
            </a:p>
          </p:txBody>
        </p:sp>
        <p:sp>
          <p:nvSpPr>
            <p:cNvPr id="85022" name="Rectangle 91">
              <a:extLst>
                <a:ext uri="{FF2B5EF4-FFF2-40B4-BE49-F238E27FC236}">
                  <a16:creationId xmlns:a16="http://schemas.microsoft.com/office/drawing/2014/main" id="{53656159-9359-4216-BDDC-0F71F43E4A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1818" y="5289203"/>
              <a:ext cx="262282" cy="245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000" b="1">
                  <a:solidFill>
                    <a:srgbClr val="000000"/>
                  </a:solidFill>
                  <a:latin typeface="Verdana" panose="020B0604030504040204" pitchFamily="34" charset="0"/>
                </a:rPr>
                <a:t>Mar</a:t>
              </a:r>
              <a:endParaRPr lang="en-US" altLang="en-US"/>
            </a:p>
          </p:txBody>
        </p:sp>
        <p:sp>
          <p:nvSpPr>
            <p:cNvPr id="85023" name="Rectangle 92">
              <a:extLst>
                <a:ext uri="{FF2B5EF4-FFF2-40B4-BE49-F238E27FC236}">
                  <a16:creationId xmlns:a16="http://schemas.microsoft.com/office/drawing/2014/main" id="{2B127842-35B9-426B-868C-9476795C9B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6234" y="5294900"/>
              <a:ext cx="36274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000" b="1">
                  <a:solidFill>
                    <a:srgbClr val="000000"/>
                  </a:solidFill>
                  <a:latin typeface="Verdana" panose="020B0604030504040204" pitchFamily="34" charset="0"/>
                </a:rPr>
                <a:t>Apr</a:t>
              </a:r>
              <a:endParaRPr lang="en-US" altLang="en-US"/>
            </a:p>
          </p:txBody>
        </p:sp>
        <p:sp>
          <p:nvSpPr>
            <p:cNvPr id="85024" name="Rectangle 94">
              <a:extLst>
                <a:ext uri="{FF2B5EF4-FFF2-40B4-BE49-F238E27FC236}">
                  <a16:creationId xmlns:a16="http://schemas.microsoft.com/office/drawing/2014/main" id="{C735583C-CC20-49DF-9851-F4E1D2503A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3165" y="5294046"/>
              <a:ext cx="280906" cy="245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000" b="1">
                  <a:solidFill>
                    <a:srgbClr val="000000"/>
                  </a:solidFill>
                  <a:latin typeface="Verdana" panose="020B0604030504040204" pitchFamily="34" charset="0"/>
                </a:rPr>
                <a:t>May</a:t>
              </a:r>
              <a:endParaRPr lang="en-US" altLang="en-US"/>
            </a:p>
          </p:txBody>
        </p:sp>
        <p:sp>
          <p:nvSpPr>
            <p:cNvPr id="85025" name="Rectangle 95">
              <a:extLst>
                <a:ext uri="{FF2B5EF4-FFF2-40B4-BE49-F238E27FC236}">
                  <a16:creationId xmlns:a16="http://schemas.microsoft.com/office/drawing/2014/main" id="{99281523-1A7E-4F83-85CD-F0322EA897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8262" y="5294569"/>
              <a:ext cx="327464" cy="245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000" b="1">
                  <a:solidFill>
                    <a:srgbClr val="000000"/>
                  </a:solidFill>
                  <a:latin typeface="Verdana" panose="020B0604030504040204" pitchFamily="34" charset="0"/>
                </a:rPr>
                <a:t>June</a:t>
              </a:r>
              <a:endParaRPr lang="en-US" altLang="en-US"/>
            </a:p>
          </p:txBody>
        </p:sp>
        <p:sp>
          <p:nvSpPr>
            <p:cNvPr id="85026" name="Rectangle 96">
              <a:extLst>
                <a:ext uri="{FF2B5EF4-FFF2-40B4-BE49-F238E27FC236}">
                  <a16:creationId xmlns:a16="http://schemas.microsoft.com/office/drawing/2014/main" id="{475745C4-432B-471A-A31F-82893565C2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67899" y="5298790"/>
              <a:ext cx="279354" cy="245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000" b="1">
                  <a:solidFill>
                    <a:srgbClr val="000000"/>
                  </a:solidFill>
                  <a:latin typeface="Verdana" panose="020B0604030504040204" pitchFamily="34" charset="0"/>
                </a:rPr>
                <a:t>July</a:t>
              </a:r>
              <a:endParaRPr lang="en-US" altLang="en-US"/>
            </a:p>
          </p:txBody>
        </p:sp>
        <p:sp>
          <p:nvSpPr>
            <p:cNvPr id="85027" name="Rectangle 97">
              <a:extLst>
                <a:ext uri="{FF2B5EF4-FFF2-40B4-BE49-F238E27FC236}">
                  <a16:creationId xmlns:a16="http://schemas.microsoft.com/office/drawing/2014/main" id="{86D6F6E6-6C01-46E9-9880-60925BAE5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5348" y="5290457"/>
              <a:ext cx="271594" cy="245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en-US" sz="1000" b="1">
                  <a:solidFill>
                    <a:srgbClr val="000000"/>
                  </a:solidFill>
                  <a:latin typeface="Verdana" panose="020B0604030504040204" pitchFamily="34" charset="0"/>
                </a:rPr>
                <a:t>Aug</a:t>
              </a:r>
              <a:endParaRPr lang="en-US" altLang="en-US"/>
            </a:p>
          </p:txBody>
        </p:sp>
        <p:sp>
          <p:nvSpPr>
            <p:cNvPr id="85028" name="Rectangle 6">
              <a:extLst>
                <a:ext uri="{FF2B5EF4-FFF2-40B4-BE49-F238E27FC236}">
                  <a16:creationId xmlns:a16="http://schemas.microsoft.com/office/drawing/2014/main" id="{09929B0B-5B33-4088-A587-6EDE563F36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1974" y="1768739"/>
              <a:ext cx="6725971" cy="3415149"/>
            </a:xfrm>
            <a:prstGeom prst="rect">
              <a:avLst/>
            </a:prstGeom>
            <a:solidFill>
              <a:srgbClr val="CDCD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85029" name="Line 7">
              <a:extLst>
                <a:ext uri="{FF2B5EF4-FFF2-40B4-BE49-F238E27FC236}">
                  <a16:creationId xmlns:a16="http://schemas.microsoft.com/office/drawing/2014/main" id="{817E8700-3AC9-41CD-A59E-CD56B3E41C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3408" y="1766443"/>
              <a:ext cx="17739" cy="3417445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030" name="Line 8">
              <a:extLst>
                <a:ext uri="{FF2B5EF4-FFF2-40B4-BE49-F238E27FC236}">
                  <a16:creationId xmlns:a16="http://schemas.microsoft.com/office/drawing/2014/main" id="{D8DD2E6B-D703-4EF8-A508-0A56BB8E42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8552" y="1766445"/>
              <a:ext cx="20984" cy="3417443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031" name="Line 9">
              <a:extLst>
                <a:ext uri="{FF2B5EF4-FFF2-40B4-BE49-F238E27FC236}">
                  <a16:creationId xmlns:a16="http://schemas.microsoft.com/office/drawing/2014/main" id="{C5A90D12-2AC8-4AD4-BC18-88904510563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20157" y="1766445"/>
              <a:ext cx="5179" cy="3417444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032" name="Line 10">
              <a:extLst>
                <a:ext uri="{FF2B5EF4-FFF2-40B4-BE49-F238E27FC236}">
                  <a16:creationId xmlns:a16="http://schemas.microsoft.com/office/drawing/2014/main" id="{8F9CE1BE-D1AB-4EA0-BF6D-B4F59DEE7C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36973" y="1766444"/>
              <a:ext cx="15482" cy="3417444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Line 11">
              <a:extLst>
                <a:ext uri="{FF2B5EF4-FFF2-40B4-BE49-F238E27FC236}">
                  <a16:creationId xmlns:a16="http://schemas.microsoft.com/office/drawing/2014/main" id="{94C0FADC-B116-4729-9261-7682972BB35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22561" y="1768739"/>
              <a:ext cx="8879" cy="3415149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/>
            <a:p>
              <a:pPr eaLnBrk="1" hangingPunct="1">
                <a:defRPr/>
              </a:pPr>
              <a:endParaRPr lang="en-US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85036" name="Rectangle 12">
              <a:extLst>
                <a:ext uri="{FF2B5EF4-FFF2-40B4-BE49-F238E27FC236}">
                  <a16:creationId xmlns:a16="http://schemas.microsoft.com/office/drawing/2014/main" id="{F682E50B-43E2-4E13-BC48-663FC03659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7930" y="1765297"/>
              <a:ext cx="5949465" cy="3254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7938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en-US"/>
            </a:p>
          </p:txBody>
        </p:sp>
        <p:sp>
          <p:nvSpPr>
            <p:cNvPr id="85037" name="Rectangle 28">
              <a:extLst>
                <a:ext uri="{FF2B5EF4-FFF2-40B4-BE49-F238E27FC236}">
                  <a16:creationId xmlns:a16="http://schemas.microsoft.com/office/drawing/2014/main" id="{B35C60BB-7BFA-4DF4-813A-EAA9678BE3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1974" y="1977193"/>
              <a:ext cx="1874322" cy="239901"/>
            </a:xfrm>
            <a:prstGeom prst="rect">
              <a:avLst/>
            </a:prstGeom>
            <a:solidFill>
              <a:srgbClr val="E65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000">
                  <a:solidFill>
                    <a:schemeClr val="bg1"/>
                  </a:solidFill>
                </a:rPr>
                <a:t>Detailed Design &amp; Prototype</a:t>
              </a:r>
            </a:p>
          </p:txBody>
        </p:sp>
        <p:sp>
          <p:nvSpPr>
            <p:cNvPr id="85038" name="Rectangle 41">
              <a:extLst>
                <a:ext uri="{FF2B5EF4-FFF2-40B4-BE49-F238E27FC236}">
                  <a16:creationId xmlns:a16="http://schemas.microsoft.com/office/drawing/2014/main" id="{C9E85168-0F02-4571-838E-99685B573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4714" y="3126426"/>
              <a:ext cx="685444" cy="240735"/>
            </a:xfrm>
            <a:prstGeom prst="rect">
              <a:avLst/>
            </a:prstGeom>
            <a:solidFill>
              <a:srgbClr val="008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000">
                  <a:solidFill>
                    <a:schemeClr val="bg1"/>
                  </a:solidFill>
                </a:rPr>
                <a:t>Test</a:t>
              </a:r>
              <a:endParaRPr lang="en-US" altLang="en-US" sz="900">
                <a:solidFill>
                  <a:schemeClr val="bg1"/>
                </a:solidFill>
              </a:endParaRPr>
            </a:p>
          </p:txBody>
        </p:sp>
        <p:sp>
          <p:nvSpPr>
            <p:cNvPr id="85039" name="Line 104">
              <a:extLst>
                <a:ext uri="{FF2B5EF4-FFF2-40B4-BE49-F238E27FC236}">
                  <a16:creationId xmlns:a16="http://schemas.microsoft.com/office/drawing/2014/main" id="{3C04E940-8B98-48EF-9183-587146A6DC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13699" y="1766445"/>
              <a:ext cx="19053" cy="3417444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040" name="Line 105">
              <a:extLst>
                <a:ext uri="{FF2B5EF4-FFF2-40B4-BE49-F238E27FC236}">
                  <a16:creationId xmlns:a16="http://schemas.microsoft.com/office/drawing/2014/main" id="{1CDD63A9-5BDD-4117-A671-2D72E399A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0190" y="1766445"/>
              <a:ext cx="9588" cy="3417443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041" name="Line 106">
              <a:extLst>
                <a:ext uri="{FF2B5EF4-FFF2-40B4-BE49-F238E27FC236}">
                  <a16:creationId xmlns:a16="http://schemas.microsoft.com/office/drawing/2014/main" id="{BB90F1A5-555F-437C-9A4D-C39B523CEA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78119" y="1766444"/>
              <a:ext cx="2361" cy="3417444"/>
            </a:xfrm>
            <a:prstGeom prst="line">
              <a:avLst/>
            </a:prstGeom>
            <a:noFill/>
            <a:ln w="793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551ACF7-6939-4281-B915-58C54D3FF9A2}"/>
                </a:ext>
              </a:extLst>
            </p:cNvPr>
            <p:cNvSpPr txBox="1"/>
            <p:nvPr/>
          </p:nvSpPr>
          <p:spPr>
            <a:xfrm>
              <a:off x="7621475" y="1845470"/>
              <a:ext cx="782835" cy="3259389"/>
            </a:xfrm>
            <a:prstGeom prst="rect">
              <a:avLst/>
            </a:prstGeom>
            <a:noFill/>
          </p:spPr>
          <p:txBody>
            <a:bodyPr vert="vert270">
              <a:spAutoFit/>
            </a:bodyPr>
            <a:lstStyle/>
            <a:p>
              <a:pPr algn="ctr" eaLnBrk="1" hangingPunct="1">
                <a:defRPr/>
              </a:pPr>
              <a:r>
                <a:rPr lang="en-US" sz="4000" dirty="0">
                  <a:latin typeface="+mn-lt"/>
                  <a:ea typeface="ＭＳ Ｐゴシック" pitchFamily="-72" charset="-128"/>
                  <a:cs typeface="ＭＳ Ｐゴシック" pitchFamily="-72" charset="-128"/>
                </a:rPr>
                <a:t>LAUNCH</a:t>
              </a:r>
            </a:p>
          </p:txBody>
        </p:sp>
        <p:sp>
          <p:nvSpPr>
            <p:cNvPr id="62" name="Rectangle 34">
              <a:extLst>
                <a:ext uri="{FF2B5EF4-FFF2-40B4-BE49-F238E27FC236}">
                  <a16:creationId xmlns:a16="http://schemas.microsoft.com/office/drawing/2014/main" id="{D8BB1F68-CC26-4612-BC7A-47B2DD29E9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1870" y="2490503"/>
              <a:ext cx="1984715" cy="248508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eaLnBrk="1" hangingPunct="1">
                <a:defRPr/>
              </a:pPr>
              <a:r>
                <a:rPr lang="en-US" sz="1000" dirty="0">
                  <a:solidFill>
                    <a:schemeClr val="bg1"/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rPr>
                <a:t>Manufacturing</a:t>
              </a:r>
              <a:endParaRPr lang="en-US" sz="900" dirty="0">
                <a:solidFill>
                  <a:schemeClr val="bg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68" name="Rectangle 34">
              <a:extLst>
                <a:ext uri="{FF2B5EF4-FFF2-40B4-BE49-F238E27FC236}">
                  <a16:creationId xmlns:a16="http://schemas.microsoft.com/office/drawing/2014/main" id="{51F33A34-A2A7-4DC0-A8EC-7EE10C49F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8837" y="1976295"/>
              <a:ext cx="1883772" cy="24694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eaLnBrk="1" hangingPunct="1">
                <a:defRPr/>
              </a:pPr>
              <a:r>
                <a:rPr lang="en-US" sz="1000" dirty="0">
                  <a:solidFill>
                    <a:schemeClr val="bg1"/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rPr>
                <a:t>Manufacturing</a:t>
              </a:r>
              <a:endParaRPr lang="en-US" sz="900" dirty="0">
                <a:solidFill>
                  <a:schemeClr val="bg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85045" name="Rectangle 29">
              <a:extLst>
                <a:ext uri="{FF2B5EF4-FFF2-40B4-BE49-F238E27FC236}">
                  <a16:creationId xmlns:a16="http://schemas.microsoft.com/office/drawing/2014/main" id="{A2C1835D-DA1D-4F7A-993B-09B005219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3131" y="2492384"/>
              <a:ext cx="2607750" cy="245886"/>
            </a:xfrm>
            <a:prstGeom prst="rect">
              <a:avLst/>
            </a:prstGeom>
            <a:solidFill>
              <a:srgbClr val="E65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000">
                  <a:solidFill>
                    <a:schemeClr val="bg1"/>
                  </a:solidFill>
                </a:rPr>
                <a:t>Detailed Design &amp; Prototype</a:t>
              </a:r>
            </a:p>
          </p:txBody>
        </p:sp>
        <p:sp>
          <p:nvSpPr>
            <p:cNvPr id="85046" name="Rectangle 29">
              <a:extLst>
                <a:ext uri="{FF2B5EF4-FFF2-40B4-BE49-F238E27FC236}">
                  <a16:creationId xmlns:a16="http://schemas.microsoft.com/office/drawing/2014/main" id="{BA6D7E75-7A0E-413E-A545-ED851AF53F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8324" y="3127064"/>
              <a:ext cx="2247473" cy="238430"/>
            </a:xfrm>
            <a:prstGeom prst="rect">
              <a:avLst/>
            </a:prstGeom>
            <a:solidFill>
              <a:srgbClr val="E65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000">
                  <a:solidFill>
                    <a:schemeClr val="bg1"/>
                  </a:solidFill>
                </a:rPr>
                <a:t>Detailed Design &amp; Prototype</a:t>
              </a:r>
            </a:p>
          </p:txBody>
        </p:sp>
        <p:sp>
          <p:nvSpPr>
            <p:cNvPr id="85047" name="Rectangle 36">
              <a:extLst>
                <a:ext uri="{FF2B5EF4-FFF2-40B4-BE49-F238E27FC236}">
                  <a16:creationId xmlns:a16="http://schemas.microsoft.com/office/drawing/2014/main" id="{76804115-B99E-4A15-9CC3-2769ED54F6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4938" y="3637125"/>
              <a:ext cx="1189776" cy="2472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000">
                  <a:solidFill>
                    <a:schemeClr val="bg1"/>
                  </a:solidFill>
                </a:rPr>
                <a:t>Development</a:t>
              </a:r>
              <a:endParaRPr lang="en-US" altLang="en-US" sz="900">
                <a:solidFill>
                  <a:schemeClr val="bg1"/>
                </a:solidFill>
              </a:endParaRPr>
            </a:p>
          </p:txBody>
        </p:sp>
        <p:sp>
          <p:nvSpPr>
            <p:cNvPr id="85048" name="Rectangle 39">
              <a:extLst>
                <a:ext uri="{FF2B5EF4-FFF2-40B4-BE49-F238E27FC236}">
                  <a16:creationId xmlns:a16="http://schemas.microsoft.com/office/drawing/2014/main" id="{C091A9A0-1873-47AC-A38D-D81F1E246F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7730" y="3637126"/>
              <a:ext cx="3002048" cy="2472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000">
                  <a:solidFill>
                    <a:schemeClr val="bg1"/>
                  </a:solidFill>
                </a:rPr>
                <a:t>Design &amp; Development</a:t>
              </a:r>
              <a:endParaRPr lang="en-US" altLang="en-US" sz="900">
                <a:solidFill>
                  <a:schemeClr val="bg1"/>
                </a:solidFill>
              </a:endParaRPr>
            </a:p>
          </p:txBody>
        </p:sp>
        <p:sp>
          <p:nvSpPr>
            <p:cNvPr id="100" name="Rectangle 36">
              <a:extLst>
                <a:ext uri="{FF2B5EF4-FFF2-40B4-BE49-F238E27FC236}">
                  <a16:creationId xmlns:a16="http://schemas.microsoft.com/office/drawing/2014/main" id="{F424821D-EF5D-4658-9E00-9C9954A4BA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2742" y="3129747"/>
              <a:ext cx="1973844" cy="237567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 eaLnBrk="1" hangingPunct="1">
                <a:defRPr/>
              </a:pPr>
              <a:r>
                <a:rPr lang="en-US" sz="1000" dirty="0">
                  <a:solidFill>
                    <a:schemeClr val="bg1"/>
                  </a:solidFill>
                  <a:latin typeface="Arial" pitchFamily="-72" charset="0"/>
                  <a:ea typeface="ＭＳ Ｐゴシック" pitchFamily="-72" charset="-128"/>
                  <a:cs typeface="ＭＳ Ｐゴシック" pitchFamily="-72" charset="-128"/>
                </a:rPr>
                <a:t>Manufacturing</a:t>
              </a:r>
              <a:endParaRPr lang="en-US" sz="900" dirty="0">
                <a:solidFill>
                  <a:schemeClr val="bg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85050" name="Rectangle 33">
              <a:extLst>
                <a:ext uri="{FF2B5EF4-FFF2-40B4-BE49-F238E27FC236}">
                  <a16:creationId xmlns:a16="http://schemas.microsoft.com/office/drawing/2014/main" id="{5CEE9919-C4A8-461E-A46E-30572066CD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2332" y="4647694"/>
              <a:ext cx="1495544" cy="25975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000">
                  <a:solidFill>
                    <a:schemeClr val="bg1"/>
                  </a:solidFill>
                </a:rPr>
                <a:t>App Development</a:t>
              </a:r>
              <a:endParaRPr lang="en-US" altLang="en-US" sz="900">
                <a:solidFill>
                  <a:schemeClr val="bg1"/>
                </a:solidFill>
              </a:endParaRPr>
            </a:p>
          </p:txBody>
        </p:sp>
      </p:grpSp>
      <p:sp>
        <p:nvSpPr>
          <p:cNvPr id="84996" name="Rectangle 58">
            <a:extLst>
              <a:ext uri="{FF2B5EF4-FFF2-40B4-BE49-F238E27FC236}">
                <a16:creationId xmlns:a16="http://schemas.microsoft.com/office/drawing/2014/main" id="{97416FC5-2119-49F8-A052-6ABA731805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4388" y="5214938"/>
            <a:ext cx="2667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000" b="1">
                <a:solidFill>
                  <a:srgbClr val="000000"/>
                </a:solidFill>
                <a:latin typeface="Verdana" panose="020B0604030504040204" pitchFamily="34" charset="0"/>
              </a:rPr>
              <a:t>Dec</a:t>
            </a:r>
            <a:endParaRPr lang="en-US" altLang="en-US"/>
          </a:p>
        </p:txBody>
      </p:sp>
      <p:pic>
        <p:nvPicPr>
          <p:cNvPr id="84997" name="Picture 87">
            <a:extLst>
              <a:ext uri="{FF2B5EF4-FFF2-40B4-BE49-F238E27FC236}">
                <a16:creationId xmlns:a16="http://schemas.microsoft.com/office/drawing/2014/main" id="{F8FD935B-5777-4948-AFA5-7627675CBF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9" name="Footer Placeholder 3">
            <a:extLst>
              <a:ext uri="{FF2B5EF4-FFF2-40B4-BE49-F238E27FC236}">
                <a16:creationId xmlns:a16="http://schemas.microsoft.com/office/drawing/2014/main" id="{413C16B7-7631-4665-9780-CB1F8CF18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90" name="Slide Number Placeholder 5">
            <a:extLst>
              <a:ext uri="{FF2B5EF4-FFF2-40B4-BE49-F238E27FC236}">
                <a16:creationId xmlns:a16="http://schemas.microsoft.com/office/drawing/2014/main" id="{F39AFF92-1BF6-4AD2-83D1-218749AFF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4B256950-A370-4D5F-9F94-9221653FDB11}" type="slidenum">
              <a:rPr lang="en-US" sz="950" b="1"/>
              <a:pPr>
                <a:defRPr/>
              </a:pPr>
              <a:t>28</a:t>
            </a:fld>
            <a:endParaRPr lang="en-US" sz="950" b="1" dirty="0"/>
          </a:p>
        </p:txBody>
      </p:sp>
      <p:sp>
        <p:nvSpPr>
          <p:cNvPr id="85000" name="Rectangle 41">
            <a:extLst>
              <a:ext uri="{FF2B5EF4-FFF2-40B4-BE49-F238E27FC236}">
                <a16:creationId xmlns:a16="http://schemas.microsoft.com/office/drawing/2014/main" id="{98825879-583D-40FC-9C54-1C568A1870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9300" y="1847850"/>
            <a:ext cx="695325" cy="246063"/>
          </a:xfrm>
          <a:prstGeom prst="rect">
            <a:avLst/>
          </a:prstGeom>
          <a:solidFill>
            <a:srgbClr val="008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Test</a:t>
            </a:r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85001" name="Rectangle 41">
            <a:extLst>
              <a:ext uri="{FF2B5EF4-FFF2-40B4-BE49-F238E27FC236}">
                <a16:creationId xmlns:a16="http://schemas.microsoft.com/office/drawing/2014/main" id="{1CA5CCB8-98DE-40D7-ABAD-2A89C304F1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2675" y="1846263"/>
            <a:ext cx="1539875" cy="250825"/>
          </a:xfrm>
          <a:prstGeom prst="rect">
            <a:avLst/>
          </a:prstGeom>
          <a:solidFill>
            <a:srgbClr val="008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Test</a:t>
            </a:r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85002" name="Rectangle 41">
            <a:extLst>
              <a:ext uri="{FF2B5EF4-FFF2-40B4-BE49-F238E27FC236}">
                <a16:creationId xmlns:a16="http://schemas.microsoft.com/office/drawing/2014/main" id="{5717E55B-46F1-4964-8FB5-3A637E2F07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9300" y="3538538"/>
            <a:ext cx="682625" cy="246062"/>
          </a:xfrm>
          <a:prstGeom prst="rect">
            <a:avLst/>
          </a:prstGeom>
          <a:solidFill>
            <a:srgbClr val="008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Test</a:t>
            </a:r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85003" name="Rectangle 41">
            <a:extLst>
              <a:ext uri="{FF2B5EF4-FFF2-40B4-BE49-F238E27FC236}">
                <a16:creationId xmlns:a16="http://schemas.microsoft.com/office/drawing/2014/main" id="{23FB37EF-6795-4855-95E5-8F6D2987A1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0888" y="4038600"/>
            <a:ext cx="690562" cy="250825"/>
          </a:xfrm>
          <a:prstGeom prst="rect">
            <a:avLst/>
          </a:prstGeom>
          <a:solidFill>
            <a:srgbClr val="008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Test</a:t>
            </a:r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85004" name="Rectangle 41">
            <a:extLst>
              <a:ext uri="{FF2B5EF4-FFF2-40B4-BE49-F238E27FC236}">
                <a16:creationId xmlns:a16="http://schemas.microsoft.com/office/drawing/2014/main" id="{225C1CE0-2424-4B71-9A9D-D694F48541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0888" y="4557713"/>
            <a:ext cx="692150" cy="265112"/>
          </a:xfrm>
          <a:prstGeom prst="rect">
            <a:avLst/>
          </a:prstGeom>
          <a:solidFill>
            <a:srgbClr val="008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Test</a:t>
            </a:r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85005" name="Rectangle 41">
            <a:extLst>
              <a:ext uri="{FF2B5EF4-FFF2-40B4-BE49-F238E27FC236}">
                <a16:creationId xmlns:a16="http://schemas.microsoft.com/office/drawing/2014/main" id="{79CC9B00-AE99-4C50-A9E8-D5AB261213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6125" y="2371725"/>
            <a:ext cx="703263" cy="247650"/>
          </a:xfrm>
          <a:prstGeom prst="rect">
            <a:avLst/>
          </a:prstGeom>
          <a:solidFill>
            <a:srgbClr val="008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Test</a:t>
            </a:r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85006" name="Rectangle 41">
            <a:extLst>
              <a:ext uri="{FF2B5EF4-FFF2-40B4-BE49-F238E27FC236}">
                <a16:creationId xmlns:a16="http://schemas.microsoft.com/office/drawing/2014/main" id="{D1486D30-E3BF-4E26-9139-47BFD1A72E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9913" y="2373313"/>
            <a:ext cx="698500" cy="246062"/>
          </a:xfrm>
          <a:prstGeom prst="rect">
            <a:avLst/>
          </a:prstGeom>
          <a:solidFill>
            <a:srgbClr val="008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Test</a:t>
            </a:r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85007" name="Rectangle 41">
            <a:extLst>
              <a:ext uri="{FF2B5EF4-FFF2-40B4-BE49-F238E27FC236}">
                <a16:creationId xmlns:a16="http://schemas.microsoft.com/office/drawing/2014/main" id="{0185A47B-EB7E-48A5-AAFC-2A1E824E3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8913" y="3014663"/>
            <a:ext cx="1079500" cy="242887"/>
          </a:xfrm>
          <a:prstGeom prst="rect">
            <a:avLst/>
          </a:prstGeom>
          <a:solidFill>
            <a:srgbClr val="008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Test</a:t>
            </a:r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85008" name="Rectangle 41">
            <a:extLst>
              <a:ext uri="{FF2B5EF4-FFF2-40B4-BE49-F238E27FC236}">
                <a16:creationId xmlns:a16="http://schemas.microsoft.com/office/drawing/2014/main" id="{B3440C9C-B494-4781-8169-123BDE334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5200" y="3529013"/>
            <a:ext cx="1101725" cy="255587"/>
          </a:xfrm>
          <a:prstGeom prst="rect">
            <a:avLst/>
          </a:prstGeom>
          <a:solidFill>
            <a:srgbClr val="008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System Test</a:t>
            </a:r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85009" name="Rectangle 39">
            <a:extLst>
              <a:ext uri="{FF2B5EF4-FFF2-40B4-BE49-F238E27FC236}">
                <a16:creationId xmlns:a16="http://schemas.microsoft.com/office/drawing/2014/main" id="{088EC55D-2FED-47CE-95D9-46212BDBC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6563" y="4037013"/>
            <a:ext cx="3068637" cy="24288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Design &amp; Development</a:t>
            </a:r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85010" name="Rectangle 41">
            <a:extLst>
              <a:ext uri="{FF2B5EF4-FFF2-40B4-BE49-F238E27FC236}">
                <a16:creationId xmlns:a16="http://schemas.microsoft.com/office/drawing/2014/main" id="{F71266F3-8A9D-4F37-BF35-8E103297E9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3138" y="4037013"/>
            <a:ext cx="1068387" cy="242887"/>
          </a:xfrm>
          <a:prstGeom prst="rect">
            <a:avLst/>
          </a:prstGeom>
          <a:solidFill>
            <a:srgbClr val="008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System Test</a:t>
            </a:r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85011" name="Rectangle 41">
            <a:extLst>
              <a:ext uri="{FF2B5EF4-FFF2-40B4-BE49-F238E27FC236}">
                <a16:creationId xmlns:a16="http://schemas.microsoft.com/office/drawing/2014/main" id="{31B4F638-7F7D-4724-B70F-C899418AE9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3613" y="4559300"/>
            <a:ext cx="1068387" cy="265113"/>
          </a:xfrm>
          <a:prstGeom prst="rect">
            <a:avLst/>
          </a:prstGeom>
          <a:solidFill>
            <a:srgbClr val="008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System Test</a:t>
            </a:r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85012" name="Rectangle 36">
            <a:extLst>
              <a:ext uri="{FF2B5EF4-FFF2-40B4-BE49-F238E27FC236}">
                <a16:creationId xmlns:a16="http://schemas.microsoft.com/office/drawing/2014/main" id="{49841A4A-4657-4795-81E5-C203E43D20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2000" y="4559300"/>
            <a:ext cx="1254125" cy="26193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Website Design</a:t>
            </a:r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85013" name="Rectangle 36">
            <a:extLst>
              <a:ext uri="{FF2B5EF4-FFF2-40B4-BE49-F238E27FC236}">
                <a16:creationId xmlns:a16="http://schemas.microsoft.com/office/drawing/2014/main" id="{CDB8B1F8-4EAC-4684-8F99-F258A195AF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9938" y="4037013"/>
            <a:ext cx="1244600" cy="24288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000">
                <a:solidFill>
                  <a:schemeClr val="bg1"/>
                </a:solidFill>
              </a:rPr>
              <a:t>Development</a:t>
            </a:r>
            <a:endParaRPr lang="en-US" altLang="en-US" sz="90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89F0587-C92D-432D-BAB3-5B27E5DB411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40509" y="1620179"/>
            <a:ext cx="3086999" cy="1736437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25604" name="TextBox 7">
            <a:extLst>
              <a:ext uri="{FF2B5EF4-FFF2-40B4-BE49-F238E27FC236}">
                <a16:creationId xmlns:a16="http://schemas.microsoft.com/office/drawing/2014/main" id="{9AD235C4-D315-4AD5-860D-067D12EDBA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6625" y="3497263"/>
            <a:ext cx="8135938" cy="277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57171" indent="-257171" eaLnBrk="1" hangingPunct="1">
              <a:spcAft>
                <a:spcPts val="12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solidFill>
                  <a:prstClr val="black"/>
                </a:solidFill>
                <a:latin typeface="Tw Cen MT"/>
                <a:ea typeface="ＭＳ Ｐゴシック" pitchFamily="-72" charset="-128"/>
                <a:cs typeface="ＭＳ Ｐゴシック" pitchFamily="-72" charset="-128"/>
              </a:rPr>
              <a:t>Consolidation is underway for biometric wearable startups to compliment and expand the market reach of their acquirers</a:t>
            </a:r>
          </a:p>
          <a:p>
            <a:pPr marL="257171" indent="-257171" eaLnBrk="1" hangingPunct="1">
              <a:spcAft>
                <a:spcPts val="12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Our strategy is to build a rapidly growing, high margin company that is an attractive target for acquisition by other leading biomedical and technology firms</a:t>
            </a:r>
          </a:p>
          <a:p>
            <a:pPr marL="257171" indent="-257171" eaLnBrk="1" hangingPunct="1">
              <a:spcAft>
                <a:spcPts val="12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We are raising $700K to $1.5M to support product development and enable us to launch in Q3 2017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EDAEFA80-9ACB-405A-88DA-55AFF6987E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Investor Opportunity</a:t>
            </a:r>
          </a:p>
        </p:txBody>
      </p:sp>
      <p:pic>
        <p:nvPicPr>
          <p:cNvPr id="87045" name="Picture 7">
            <a:extLst>
              <a:ext uri="{FF2B5EF4-FFF2-40B4-BE49-F238E27FC236}">
                <a16:creationId xmlns:a16="http://schemas.microsoft.com/office/drawing/2014/main" id="{195CC06F-9BCE-4872-8C67-587C43A635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D73A3E80-5C5D-4258-8B2F-87C26B9C6F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0B450F1-8A18-41A8-8C31-BAE53B389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D72430BD-CAAC-4153-B2C3-07C68937A218}" type="slidenum">
              <a:rPr lang="en-US" sz="950" b="1"/>
              <a:pPr>
                <a:defRPr/>
              </a:pPr>
              <a:t>29</a:t>
            </a:fld>
            <a:endParaRPr lang="en-US" sz="950" b="1" dirty="0"/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3DAD5B98-D864-4BC6-8F4D-4665D031BF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0438" y="1538288"/>
            <a:ext cx="5053012" cy="1938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57171" indent="-257171" eaLnBrk="1" hangingPunct="1">
              <a:spcAft>
                <a:spcPts val="12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The biometric wearables market is exploding and is forecast to grow from $17 billion to $72 billion by 2020</a:t>
            </a:r>
          </a:p>
          <a:p>
            <a:pPr marL="257171" indent="-257171" eaLnBrk="1" hangingPunct="1">
              <a:spcAft>
                <a:spcPts val="12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Wearable technologies are transforming the personal healthcare industry</a:t>
            </a:r>
          </a:p>
        </p:txBody>
      </p:sp>
    </p:spTree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4" name="TextBox 7">
            <a:extLst>
              <a:ext uri="{FF2B5EF4-FFF2-40B4-BE49-F238E27FC236}">
                <a16:creationId xmlns:a16="http://schemas.microsoft.com/office/drawing/2014/main" id="{75CF365E-6F2B-4ADC-8D3C-F259B4B4A2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5350" y="1530350"/>
            <a:ext cx="7612063" cy="443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57171" indent="-257171" eaLnBrk="1" hangingPunct="1">
              <a:spcAft>
                <a:spcPts val="12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GOGO BAND is the first biometric wearable solution to cure bedwetting in children, clinically known as Pediatric Enuresis (PE)</a:t>
            </a:r>
          </a:p>
          <a:p>
            <a:pPr marL="257171" indent="-257171" eaLnBrk="1" hangingPunct="1">
              <a:spcAft>
                <a:spcPts val="12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PE is the #1chronic health condition in children that affects 300+ million worldwide, 8.5 million in the USA</a:t>
            </a:r>
          </a:p>
          <a:p>
            <a:pPr marL="257171" indent="-257171" eaLnBrk="1" hangingPunct="1">
              <a:spcAft>
                <a:spcPts val="12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In the USA families spend $4.2 Billion annually for treatment</a:t>
            </a:r>
          </a:p>
          <a:p>
            <a:pPr marL="257171" indent="-257171" eaLnBrk="1" hangingPunct="1">
              <a:spcAft>
                <a:spcPts val="12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Technical innovation in this market has been                          stagnant for the last 30+ years and                                current treatments are ineffective</a:t>
            </a:r>
          </a:p>
          <a:p>
            <a:pPr marL="257171" indent="-257171" eaLnBrk="1" hangingPunct="1">
              <a:spcAft>
                <a:spcPts val="12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Our patent pending solution is a                                              game changer that enables us                                                to rapidly capture market share</a:t>
            </a:r>
          </a:p>
        </p:txBody>
      </p:sp>
      <p:sp>
        <p:nvSpPr>
          <p:cNvPr id="7" name="TextBox 7">
            <a:extLst>
              <a:ext uri="{FF2B5EF4-FFF2-40B4-BE49-F238E27FC236}">
                <a16:creationId xmlns:a16="http://schemas.microsoft.com/office/drawing/2014/main" id="{6732FDE5-EF45-46A1-B581-EE7D630535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GOGO BAND Opportunity</a:t>
            </a:r>
          </a:p>
        </p:txBody>
      </p:sp>
      <p:pic>
        <p:nvPicPr>
          <p:cNvPr id="2" name="Picture 7">
            <a:extLst>
              <a:ext uri="{FF2B5EF4-FFF2-40B4-BE49-F238E27FC236}">
                <a16:creationId xmlns:a16="http://schemas.microsoft.com/office/drawing/2014/main" id="{7D214450-EA58-47BE-BCCE-F244710F9A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E322C067-C2D4-4730-8D6C-33D87AE81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E95AB01-142C-4644-867A-2D0871F0CE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EEFDE675-6132-45AB-9245-8406A4083766}" type="slidenum">
              <a:rPr lang="en-US" sz="950" b="1"/>
              <a:pPr>
                <a:defRPr/>
              </a:pPr>
              <a:t>3</a:t>
            </a:fld>
            <a:endParaRPr lang="en-US" sz="950" b="1" dirty="0"/>
          </a:p>
        </p:txBody>
      </p:sp>
      <p:pic>
        <p:nvPicPr>
          <p:cNvPr id="25607" name="Picture 2">
            <a:extLst>
              <a:ext uri="{FF2B5EF4-FFF2-40B4-BE49-F238E27FC236}">
                <a16:creationId xmlns:a16="http://schemas.microsoft.com/office/drawing/2014/main" id="{21F46FEE-E9D2-4184-BB4D-3AD060C990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875" y="3738563"/>
            <a:ext cx="3036888" cy="213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Footer Placeholder 3">
            <a:extLst>
              <a:ext uri="{FF2B5EF4-FFF2-40B4-BE49-F238E27FC236}">
                <a16:creationId xmlns:a16="http://schemas.microsoft.com/office/drawing/2014/main" id="{69A46826-CE1C-48AE-A485-305B566BB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0" y="6489700"/>
            <a:ext cx="5005388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5DF7C56-E1CF-498C-AC26-7A863142CE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Investor Opportunity</a:t>
            </a:r>
          </a:p>
        </p:txBody>
      </p:sp>
      <p:pic>
        <p:nvPicPr>
          <p:cNvPr id="27652" name="Picture 8">
            <a:extLst>
              <a:ext uri="{FF2B5EF4-FFF2-40B4-BE49-F238E27FC236}">
                <a16:creationId xmlns:a16="http://schemas.microsoft.com/office/drawing/2014/main" id="{F16FE49D-68E4-4B8F-B59D-75B24CD48D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6F2FDF5-315E-46C7-A6E6-6C8E716C9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F9E25CC5-E3C0-4029-B239-F7C897556046}" type="slidenum">
              <a:rPr lang="en-US" sz="950" b="1"/>
              <a:pPr>
                <a:defRPr/>
              </a:pPr>
              <a:t>4</a:t>
            </a:fld>
            <a:endParaRPr lang="en-US" sz="950" b="1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3F51D77-A55D-48E5-A64A-7D322F3D3E5C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86576" y="1915037"/>
            <a:ext cx="2618556" cy="1472938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10" name="TextBox 7">
            <a:extLst>
              <a:ext uri="{FF2B5EF4-FFF2-40B4-BE49-F238E27FC236}">
                <a16:creationId xmlns:a16="http://schemas.microsoft.com/office/drawing/2014/main" id="{7EA342DF-0F00-4F83-8EDB-C17A4F3958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1338" y="3659188"/>
            <a:ext cx="8435975" cy="2586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2878" indent="-192878" eaLnBrk="1" hangingPunct="1">
              <a:spcAft>
                <a:spcPts val="18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Companies are acquiring wearable startups to compliment and expand their market reach</a:t>
            </a:r>
          </a:p>
          <a:p>
            <a:pPr marL="192878" indent="-192878" eaLnBrk="1" hangingPunct="1">
              <a:spcAft>
                <a:spcPts val="18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Our proprietary IP and significant profits will make us an attractive acquisition target</a:t>
            </a:r>
          </a:p>
          <a:p>
            <a:pPr marL="192878" indent="-192878" eaLnBrk="1" hangingPunct="1">
              <a:spcAft>
                <a:spcPts val="18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We are raising $700K at $3 million pre-money valuation to enable launch in Q3 2017</a:t>
            </a:r>
          </a:p>
        </p:txBody>
      </p:sp>
      <p:sp>
        <p:nvSpPr>
          <p:cNvPr id="13" name="TextBox 7">
            <a:extLst>
              <a:ext uri="{FF2B5EF4-FFF2-40B4-BE49-F238E27FC236}">
                <a16:creationId xmlns:a16="http://schemas.microsoft.com/office/drawing/2014/main" id="{D534579B-F592-4374-ADC1-EA2F132B26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49638" y="1643063"/>
            <a:ext cx="5151437" cy="201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92878" indent="-192878" eaLnBrk="1" hangingPunct="1">
              <a:spcAft>
                <a:spcPts val="18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solidFill>
                  <a:prstClr val="black"/>
                </a:solidFill>
                <a:latin typeface="+mn-lt"/>
                <a:ea typeface="ＭＳ Ｐゴシック" pitchFamily="-72" charset="-128"/>
                <a:cs typeface="ＭＳ Ｐゴシック" pitchFamily="-72" charset="-128"/>
              </a:rPr>
              <a:t>GOGO BAND’s data-centric platform is disruptive and  enables us to rapidly enter other healthcare markets</a:t>
            </a:r>
          </a:p>
          <a:p>
            <a:pPr marL="192878" indent="-192878" eaLnBrk="1" hangingPunct="1">
              <a:spcAft>
                <a:spcPts val="1800"/>
              </a:spcAft>
              <a:buFont typeface="Wingdings" pitchFamily="-72" charset="2"/>
              <a:buChar char="§"/>
              <a:defRPr/>
            </a:pPr>
            <a:r>
              <a:rPr lang="en-US" sz="2200" dirty="0">
                <a:latin typeface="+mn-lt"/>
                <a:ea typeface="ＭＳ Ｐゴシック" pitchFamily="-72" charset="-128"/>
                <a:cs typeface="ＭＳ Ｐゴシック" pitchFamily="-72" charset="-128"/>
              </a:rPr>
              <a:t>Biometric wearables for healthcare will be $50+ billion market by 2022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Footer Placeholder 3">
            <a:extLst>
              <a:ext uri="{FF2B5EF4-FFF2-40B4-BE49-F238E27FC236}">
                <a16:creationId xmlns:a16="http://schemas.microsoft.com/office/drawing/2014/main" id="{EA11F7E1-DFE6-4D34-830F-B623EC72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>
          <a:xfrm>
            <a:off x="0" y="6489700"/>
            <a:ext cx="5005388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9CA1A9-BC5F-4CF1-9400-DFE65B22B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Corporate Highlights</a:t>
            </a:r>
          </a:p>
        </p:txBody>
      </p:sp>
      <p:pic>
        <p:nvPicPr>
          <p:cNvPr id="29700" name="Picture 8">
            <a:extLst>
              <a:ext uri="{FF2B5EF4-FFF2-40B4-BE49-F238E27FC236}">
                <a16:creationId xmlns:a16="http://schemas.microsoft.com/office/drawing/2014/main" id="{FAD54607-C291-417E-A34C-8942B4E308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E98DBBB-504D-4A24-A3F9-39BAE5783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96A7850A-23F2-4B6E-9E04-D4E841E7AAB2}" type="slidenum">
              <a:rPr lang="en-US" sz="950" b="1"/>
              <a:pPr>
                <a:defRPr/>
              </a:pPr>
              <a:t>5</a:t>
            </a:fld>
            <a:endParaRPr lang="en-US" sz="950" b="1" dirty="0"/>
          </a:p>
        </p:txBody>
      </p:sp>
      <p:sp>
        <p:nvSpPr>
          <p:cNvPr id="29702" name="TextBox 7">
            <a:extLst>
              <a:ext uri="{FF2B5EF4-FFF2-40B4-BE49-F238E27FC236}">
                <a16:creationId xmlns:a16="http://schemas.microsoft.com/office/drawing/2014/main" id="{7615BB1E-096B-4E6C-AA8F-05D57C7E54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603375"/>
            <a:ext cx="8277225" cy="403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lvl="2" eaLnBrk="1" hangingPunct="1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en-US" altLang="en-US" sz="2200">
                <a:latin typeface="Tw Cen MT" panose="020B0602020104020603" pitchFamily="34" charset="0"/>
              </a:rPr>
              <a:t>Member of the Virginia Biotech Research Park</a:t>
            </a:r>
          </a:p>
          <a:p>
            <a:pPr lvl="2" eaLnBrk="1" hangingPunct="1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en-US" altLang="en-US" sz="2200">
                <a:latin typeface="Tw Cen MT" panose="020B0602020104020603" pitchFamily="34" charset="0"/>
              </a:rPr>
              <a:t>Accepted into Lighthouse Labs Accelerator – a GAN “Top 25” Global Accelerator – completed in November 2016</a:t>
            </a:r>
          </a:p>
          <a:p>
            <a:pPr lvl="2" eaLnBrk="1" hangingPunct="1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en-US" altLang="en-US" sz="2200">
                <a:latin typeface="Tw Cen MT" panose="020B0602020104020603" pitchFamily="34" charset="0"/>
              </a:rPr>
              <a:t>Named one of the “Top 6” Biotech Start-ups for 2016 by the Governor of Virginia </a:t>
            </a:r>
          </a:p>
          <a:p>
            <a:pPr lvl="2" eaLnBrk="1" hangingPunct="1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en-US" altLang="en-US" sz="2200">
                <a:latin typeface="Tw Cen MT" panose="020B0602020104020603" pitchFamily="34" charset="0"/>
              </a:rPr>
              <a:t>Awarded the Capital One “2016 Small Business of The Year”</a:t>
            </a:r>
          </a:p>
          <a:p>
            <a:pPr lvl="2" eaLnBrk="1" hangingPunct="1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en-US" altLang="en-US" sz="2200">
                <a:latin typeface="Tw Cen MT" panose="020B0602020104020603" pitchFamily="34" charset="0"/>
              </a:rPr>
              <a:t>First Start-up accepted into VCU Da Vinci Capstone Program and Brand Center Work-out Program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669">
            <a:extLst>
              <a:ext uri="{FF2B5EF4-FFF2-40B4-BE49-F238E27FC236}">
                <a16:creationId xmlns:a16="http://schemas.microsoft.com/office/drawing/2014/main" id="{C30B05DD-DD61-4440-B0EB-EE4A87EFEA81}"/>
              </a:ext>
            </a:extLst>
          </p:cNvPr>
          <p:cNvSpPr>
            <a:spLocks noChangeArrowheads="1"/>
          </p:cNvSpPr>
          <p:nvPr/>
        </p:nvSpPr>
        <p:spPr bwMode="auto">
          <a:xfrm rot="5400000" flipV="1">
            <a:off x="-155575" y="3509963"/>
            <a:ext cx="1716087" cy="42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>
                <a:solidFill>
                  <a:srgbClr val="000000"/>
                </a:solidFill>
                <a:latin typeface="Tw Cen MT" panose="020B0602020104020603" pitchFamily="34" charset="0"/>
              </a:rPr>
              <a:t>Transaction Value</a:t>
            </a:r>
          </a:p>
          <a:p>
            <a:pPr algn="ctr" eaLnBrk="1" hangingPunct="1"/>
            <a:r>
              <a:rPr lang="en-US" altLang="en-US" sz="800" b="1">
                <a:solidFill>
                  <a:srgbClr val="000000"/>
                </a:solidFill>
                <a:latin typeface="Tw Cen MT" panose="020B0602020104020603" pitchFamily="34" charset="0"/>
              </a:rPr>
              <a:t>(S Millions)</a:t>
            </a:r>
          </a:p>
        </p:txBody>
      </p:sp>
      <p:sp>
        <p:nvSpPr>
          <p:cNvPr id="31747" name="Rectangle 422">
            <a:extLst>
              <a:ext uri="{FF2B5EF4-FFF2-40B4-BE49-F238E27FC236}">
                <a16:creationId xmlns:a16="http://schemas.microsoft.com/office/drawing/2014/main" id="{D325EEFD-03CC-499B-8A86-13BF1B5EE3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2963" y="1417638"/>
            <a:ext cx="28035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100" b="1">
                <a:solidFill>
                  <a:srgbClr val="000000"/>
                </a:solidFill>
                <a:latin typeface="Verdana" panose="020B0604030504040204" pitchFamily="34" charset="0"/>
              </a:rPr>
              <a:t>Transaction Value vs. Company Age</a:t>
            </a:r>
            <a:endParaRPr lang="en-US" altLang="en-US"/>
          </a:p>
        </p:txBody>
      </p:sp>
      <p:sp>
        <p:nvSpPr>
          <p:cNvPr id="31748" name="Rectangle 459">
            <a:extLst>
              <a:ext uri="{FF2B5EF4-FFF2-40B4-BE49-F238E27FC236}">
                <a16:creationId xmlns:a16="http://schemas.microsoft.com/office/drawing/2014/main" id="{FFADE54C-41A5-4530-B912-B244CEE498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9975" y="6076950"/>
            <a:ext cx="2312988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100" b="1">
                <a:solidFill>
                  <a:srgbClr val="000000"/>
                </a:solidFill>
                <a:latin typeface="Verdana" panose="020B0604030504040204" pitchFamily="34" charset="0"/>
              </a:rPr>
              <a:t>Company Age When Acquired</a:t>
            </a:r>
          </a:p>
          <a:p>
            <a:pPr algn="ctr" eaLnBrk="1" hangingPunct="1"/>
            <a:r>
              <a:rPr lang="en-US" altLang="en-US" sz="800" b="1">
                <a:solidFill>
                  <a:srgbClr val="000000"/>
                </a:solidFill>
                <a:latin typeface="Verdana" panose="020B0604030504040204" pitchFamily="34" charset="0"/>
              </a:rPr>
              <a:t>(Years Since Founded)</a:t>
            </a:r>
            <a:endParaRPr lang="en-US" altLang="en-US"/>
          </a:p>
        </p:txBody>
      </p:sp>
      <p:sp>
        <p:nvSpPr>
          <p:cNvPr id="31749" name="Rectangle 334">
            <a:extLst>
              <a:ext uri="{FF2B5EF4-FFF2-40B4-BE49-F238E27FC236}">
                <a16:creationId xmlns:a16="http://schemas.microsoft.com/office/drawing/2014/main" id="{6656E8CB-FB3F-45E4-87CB-270A1DB98E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4775" y="1665288"/>
            <a:ext cx="7024688" cy="3997325"/>
          </a:xfrm>
          <a:prstGeom prst="rect">
            <a:avLst/>
          </a:prstGeom>
          <a:solidFill>
            <a:schemeClr val="bg1"/>
          </a:solidFill>
          <a:ln w="7938">
            <a:solidFill>
              <a:srgbClr val="808080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sp>
        <p:nvSpPr>
          <p:cNvPr id="31750" name="Line 349">
            <a:extLst>
              <a:ext uri="{FF2B5EF4-FFF2-40B4-BE49-F238E27FC236}">
                <a16:creationId xmlns:a16="http://schemas.microsoft.com/office/drawing/2014/main" id="{DD833A8D-BFF9-4DCB-921B-9E6E3704711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391525" y="5654675"/>
            <a:ext cx="1588" cy="31750"/>
          </a:xfrm>
          <a:prstGeom prst="line">
            <a:avLst/>
          </a:prstGeom>
          <a:noFill/>
          <a:ln w="15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103" name="Rectangle 328">
            <a:extLst>
              <a:ext uri="{FF2B5EF4-FFF2-40B4-BE49-F238E27FC236}">
                <a16:creationId xmlns:a16="http://schemas.microsoft.com/office/drawing/2014/main" id="{94FC2BE3-DAE0-41B8-98D2-00C2653D22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1915" y="1669600"/>
            <a:ext cx="7000715" cy="3986167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eaLnBrk="1" hangingPunct="1">
              <a:defRPr/>
            </a:pPr>
            <a:endParaRPr lang="en-US"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31754" name="Line 330">
            <a:extLst>
              <a:ext uri="{FF2B5EF4-FFF2-40B4-BE49-F238E27FC236}">
                <a16:creationId xmlns:a16="http://schemas.microsoft.com/office/drawing/2014/main" id="{5CE272B9-40D8-4B1B-A729-6FAAD2DECCE7}"/>
              </a:ext>
            </a:extLst>
          </p:cNvPr>
          <p:cNvSpPr>
            <a:spLocks noChangeShapeType="1"/>
          </p:cNvSpPr>
          <p:nvPr/>
        </p:nvSpPr>
        <p:spPr bwMode="auto">
          <a:xfrm>
            <a:off x="1377950" y="3646488"/>
            <a:ext cx="7058025" cy="41275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755" name="Line 336">
            <a:extLst>
              <a:ext uri="{FF2B5EF4-FFF2-40B4-BE49-F238E27FC236}">
                <a16:creationId xmlns:a16="http://schemas.microsoft.com/office/drawing/2014/main" id="{9FF0BC8F-B456-4FC6-89BD-EDB5F63195BC}"/>
              </a:ext>
            </a:extLst>
          </p:cNvPr>
          <p:cNvSpPr>
            <a:spLocks noChangeShapeType="1"/>
          </p:cNvSpPr>
          <p:nvPr/>
        </p:nvSpPr>
        <p:spPr bwMode="auto">
          <a:xfrm>
            <a:off x="1338263" y="5654675"/>
            <a:ext cx="39687" cy="1588"/>
          </a:xfrm>
          <a:prstGeom prst="line">
            <a:avLst/>
          </a:prstGeom>
          <a:noFill/>
          <a:ln w="15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756" name="Line 337">
            <a:extLst>
              <a:ext uri="{FF2B5EF4-FFF2-40B4-BE49-F238E27FC236}">
                <a16:creationId xmlns:a16="http://schemas.microsoft.com/office/drawing/2014/main" id="{0B57462B-4380-4028-9D0D-987A23B1FE8A}"/>
              </a:ext>
            </a:extLst>
          </p:cNvPr>
          <p:cNvSpPr>
            <a:spLocks noChangeShapeType="1"/>
          </p:cNvSpPr>
          <p:nvPr/>
        </p:nvSpPr>
        <p:spPr bwMode="auto">
          <a:xfrm>
            <a:off x="1338263" y="4856163"/>
            <a:ext cx="39687" cy="1587"/>
          </a:xfrm>
          <a:prstGeom prst="line">
            <a:avLst/>
          </a:prstGeom>
          <a:noFill/>
          <a:ln w="15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757" name="Line 338">
            <a:extLst>
              <a:ext uri="{FF2B5EF4-FFF2-40B4-BE49-F238E27FC236}">
                <a16:creationId xmlns:a16="http://schemas.microsoft.com/office/drawing/2014/main" id="{CD5746AC-E2D9-4FC4-A1B5-C91A776CF749}"/>
              </a:ext>
            </a:extLst>
          </p:cNvPr>
          <p:cNvSpPr>
            <a:spLocks noChangeShapeType="1"/>
          </p:cNvSpPr>
          <p:nvPr/>
        </p:nvSpPr>
        <p:spPr bwMode="auto">
          <a:xfrm>
            <a:off x="1338263" y="4060825"/>
            <a:ext cx="39687" cy="1588"/>
          </a:xfrm>
          <a:prstGeom prst="line">
            <a:avLst/>
          </a:prstGeom>
          <a:noFill/>
          <a:ln w="15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758" name="Line 339">
            <a:extLst>
              <a:ext uri="{FF2B5EF4-FFF2-40B4-BE49-F238E27FC236}">
                <a16:creationId xmlns:a16="http://schemas.microsoft.com/office/drawing/2014/main" id="{CB0A22D7-61C2-4EDE-B21D-A87338483EAE}"/>
              </a:ext>
            </a:extLst>
          </p:cNvPr>
          <p:cNvSpPr>
            <a:spLocks noChangeShapeType="1"/>
          </p:cNvSpPr>
          <p:nvPr/>
        </p:nvSpPr>
        <p:spPr bwMode="auto">
          <a:xfrm>
            <a:off x="1338263" y="3262313"/>
            <a:ext cx="39687" cy="1587"/>
          </a:xfrm>
          <a:prstGeom prst="line">
            <a:avLst/>
          </a:prstGeom>
          <a:noFill/>
          <a:ln w="15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759" name="Line 340">
            <a:extLst>
              <a:ext uri="{FF2B5EF4-FFF2-40B4-BE49-F238E27FC236}">
                <a16:creationId xmlns:a16="http://schemas.microsoft.com/office/drawing/2014/main" id="{A223BFCA-5C9B-4F0C-8E75-4F6B97C11C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338263" y="2465388"/>
            <a:ext cx="39687" cy="1587"/>
          </a:xfrm>
          <a:prstGeom prst="line">
            <a:avLst/>
          </a:prstGeom>
          <a:noFill/>
          <a:ln w="15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760" name="Line 341">
            <a:extLst>
              <a:ext uri="{FF2B5EF4-FFF2-40B4-BE49-F238E27FC236}">
                <a16:creationId xmlns:a16="http://schemas.microsoft.com/office/drawing/2014/main" id="{4BB2A0AD-7BC9-4181-9541-5E967E35CF31}"/>
              </a:ext>
            </a:extLst>
          </p:cNvPr>
          <p:cNvSpPr>
            <a:spLocks noChangeShapeType="1"/>
          </p:cNvSpPr>
          <p:nvPr/>
        </p:nvSpPr>
        <p:spPr bwMode="auto">
          <a:xfrm>
            <a:off x="1338263" y="1670050"/>
            <a:ext cx="39687" cy="1588"/>
          </a:xfrm>
          <a:prstGeom prst="line">
            <a:avLst/>
          </a:prstGeom>
          <a:noFill/>
          <a:ln w="15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761" name="Line 343">
            <a:extLst>
              <a:ext uri="{FF2B5EF4-FFF2-40B4-BE49-F238E27FC236}">
                <a16:creationId xmlns:a16="http://schemas.microsoft.com/office/drawing/2014/main" id="{552D7141-563B-4FDA-8562-C2F86611670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377950" y="5654675"/>
            <a:ext cx="3175" cy="31750"/>
          </a:xfrm>
          <a:prstGeom prst="line">
            <a:avLst/>
          </a:prstGeom>
          <a:noFill/>
          <a:ln w="15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762" name="Line 344">
            <a:extLst>
              <a:ext uri="{FF2B5EF4-FFF2-40B4-BE49-F238E27FC236}">
                <a16:creationId xmlns:a16="http://schemas.microsoft.com/office/drawing/2014/main" id="{5409BC40-952B-4652-B6B1-34DA229DD9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84475" y="5654675"/>
            <a:ext cx="1588" cy="31750"/>
          </a:xfrm>
          <a:prstGeom prst="line">
            <a:avLst/>
          </a:prstGeom>
          <a:noFill/>
          <a:ln w="15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763" name="Line 345">
            <a:extLst>
              <a:ext uri="{FF2B5EF4-FFF2-40B4-BE49-F238E27FC236}">
                <a16:creationId xmlns:a16="http://schemas.microsoft.com/office/drawing/2014/main" id="{2F279A8D-CBC2-4229-9082-00794A63DC5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86238" y="5654675"/>
            <a:ext cx="3175" cy="31750"/>
          </a:xfrm>
          <a:prstGeom prst="line">
            <a:avLst/>
          </a:prstGeom>
          <a:noFill/>
          <a:ln w="15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764" name="Line 346">
            <a:extLst>
              <a:ext uri="{FF2B5EF4-FFF2-40B4-BE49-F238E27FC236}">
                <a16:creationId xmlns:a16="http://schemas.microsoft.com/office/drawing/2014/main" id="{ADC78A90-98E6-4155-A891-35CFF0687C5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91175" y="5654675"/>
            <a:ext cx="3175" cy="31750"/>
          </a:xfrm>
          <a:prstGeom prst="line">
            <a:avLst/>
          </a:prstGeom>
          <a:noFill/>
          <a:ln w="15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765" name="Line 347">
            <a:extLst>
              <a:ext uri="{FF2B5EF4-FFF2-40B4-BE49-F238E27FC236}">
                <a16:creationId xmlns:a16="http://schemas.microsoft.com/office/drawing/2014/main" id="{B7820528-F6B5-4BAD-B747-28560E4F99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994525" y="5654675"/>
            <a:ext cx="1588" cy="31750"/>
          </a:xfrm>
          <a:prstGeom prst="line">
            <a:avLst/>
          </a:prstGeom>
          <a:noFill/>
          <a:ln w="15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766" name="Line 348">
            <a:extLst>
              <a:ext uri="{FF2B5EF4-FFF2-40B4-BE49-F238E27FC236}">
                <a16:creationId xmlns:a16="http://schemas.microsoft.com/office/drawing/2014/main" id="{4AA0BDC1-39CF-45E2-88FF-5C880F4690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399463" y="5654675"/>
            <a:ext cx="1587" cy="31750"/>
          </a:xfrm>
          <a:prstGeom prst="line">
            <a:avLst/>
          </a:prstGeom>
          <a:noFill/>
          <a:ln w="1588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4214" name="Group 462">
            <a:extLst>
              <a:ext uri="{FF2B5EF4-FFF2-40B4-BE49-F238E27FC236}">
                <a16:creationId xmlns:a16="http://schemas.microsoft.com/office/drawing/2014/main" id="{24D22A0C-255A-4741-9BA3-0F27531F37EF}"/>
              </a:ext>
            </a:extLst>
          </p:cNvPr>
          <p:cNvGrpSpPr>
            <a:grpSpLocks/>
          </p:cNvGrpSpPr>
          <p:nvPr/>
        </p:nvGrpSpPr>
        <p:grpSpPr bwMode="auto">
          <a:xfrm>
            <a:off x="925132" y="1601503"/>
            <a:ext cx="382810" cy="4114057"/>
            <a:chOff x="797" y="1185"/>
            <a:chExt cx="182" cy="2477"/>
          </a:xfrm>
          <a:solidFill>
            <a:schemeClr val="bg1"/>
          </a:solidFill>
        </p:grpSpPr>
        <p:sp>
          <p:nvSpPr>
            <p:cNvPr id="4225" name="Rectangle 442">
              <a:extLst>
                <a:ext uri="{FF2B5EF4-FFF2-40B4-BE49-F238E27FC236}">
                  <a16:creationId xmlns:a16="http://schemas.microsoft.com/office/drawing/2014/main" id="{B1FEEDD5-6DE8-4DEC-B4EB-3356AF7C3C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9" y="3585"/>
              <a:ext cx="91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800" b="1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$0</a:t>
              </a:r>
              <a:endParaRPr lang="en-US" b="1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4226" name="Rectangle 443">
              <a:extLst>
                <a:ext uri="{FF2B5EF4-FFF2-40B4-BE49-F238E27FC236}">
                  <a16:creationId xmlns:a16="http://schemas.microsoft.com/office/drawing/2014/main" id="{6448F55E-4B4A-486A-B11E-E93A77EE54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7" y="3105"/>
              <a:ext cx="18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800" b="1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$100</a:t>
              </a:r>
              <a:endParaRPr lang="en-US" b="1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4227" name="Rectangle 444">
              <a:extLst>
                <a:ext uri="{FF2B5EF4-FFF2-40B4-BE49-F238E27FC236}">
                  <a16:creationId xmlns:a16="http://schemas.microsoft.com/office/drawing/2014/main" id="{F8CD07EE-5899-41FC-A76F-378A6E0C4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7" y="2626"/>
              <a:ext cx="18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800" b="1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$200</a:t>
              </a:r>
              <a:endParaRPr lang="en-US" b="1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4228" name="Rectangle 445">
              <a:extLst>
                <a:ext uri="{FF2B5EF4-FFF2-40B4-BE49-F238E27FC236}">
                  <a16:creationId xmlns:a16="http://schemas.microsoft.com/office/drawing/2014/main" id="{E16BD402-94B6-4478-AE6D-E09B8E61ED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7" y="2145"/>
              <a:ext cx="18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800" b="1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$300</a:t>
              </a:r>
              <a:endParaRPr lang="en-US" b="1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4229" name="Rectangle 446">
              <a:extLst>
                <a:ext uri="{FF2B5EF4-FFF2-40B4-BE49-F238E27FC236}">
                  <a16:creationId xmlns:a16="http://schemas.microsoft.com/office/drawing/2014/main" id="{6E9CD932-4EFF-479E-9A80-C815A2BF9D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7" y="1665"/>
              <a:ext cx="18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800" b="1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$400</a:t>
              </a:r>
              <a:endParaRPr lang="en-US" b="1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4230" name="Rectangle 447">
              <a:extLst>
                <a:ext uri="{FF2B5EF4-FFF2-40B4-BE49-F238E27FC236}">
                  <a16:creationId xmlns:a16="http://schemas.microsoft.com/office/drawing/2014/main" id="{B1EEAD90-DA1F-4144-8B96-546E39FE86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7" y="1185"/>
              <a:ext cx="182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800" b="1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$500</a:t>
              </a:r>
              <a:endParaRPr lang="en-US" b="1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</p:grpSp>
      <p:grpSp>
        <p:nvGrpSpPr>
          <p:cNvPr id="4215" name="Group 463">
            <a:extLst>
              <a:ext uri="{FF2B5EF4-FFF2-40B4-BE49-F238E27FC236}">
                <a16:creationId xmlns:a16="http://schemas.microsoft.com/office/drawing/2014/main" id="{09DDD601-7955-4B65-B3FD-E157D8D63641}"/>
              </a:ext>
            </a:extLst>
          </p:cNvPr>
          <p:cNvGrpSpPr>
            <a:grpSpLocks/>
          </p:cNvGrpSpPr>
          <p:nvPr/>
        </p:nvGrpSpPr>
        <p:grpSpPr bwMode="auto">
          <a:xfrm>
            <a:off x="1347174" y="5712238"/>
            <a:ext cx="7170319" cy="127890"/>
            <a:chOff x="1007" y="3650"/>
            <a:chExt cx="3409" cy="77"/>
          </a:xfrm>
          <a:solidFill>
            <a:schemeClr val="bg1"/>
          </a:solidFill>
        </p:grpSpPr>
        <p:sp>
          <p:nvSpPr>
            <p:cNvPr id="4218" name="Rectangle 448">
              <a:extLst>
                <a:ext uri="{FF2B5EF4-FFF2-40B4-BE49-F238E27FC236}">
                  <a16:creationId xmlns:a16="http://schemas.microsoft.com/office/drawing/2014/main" id="{B8B22D4C-11F7-4E6B-9158-6097BE67CC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7" y="3650"/>
              <a:ext cx="46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800" b="1" dirty="0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0</a:t>
              </a:r>
              <a:endParaRPr lang="en-US" b="1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4219" name="Rectangle 449">
              <a:extLst>
                <a:ext uri="{FF2B5EF4-FFF2-40B4-BE49-F238E27FC236}">
                  <a16:creationId xmlns:a16="http://schemas.microsoft.com/office/drawing/2014/main" id="{0CCD0E16-BCF3-4110-A2B2-0323711220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5" y="3650"/>
              <a:ext cx="46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800" b="1" dirty="0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2</a:t>
              </a:r>
              <a:endParaRPr lang="en-US" b="1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4220" name="Rectangle 450">
              <a:extLst>
                <a:ext uri="{FF2B5EF4-FFF2-40B4-BE49-F238E27FC236}">
                  <a16:creationId xmlns:a16="http://schemas.microsoft.com/office/drawing/2014/main" id="{80E24CD3-AE86-416C-9E9C-6070061426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2" y="3650"/>
              <a:ext cx="46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800" b="1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4</a:t>
              </a:r>
              <a:endParaRPr lang="en-US" b="1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4221" name="Rectangle 451">
              <a:extLst>
                <a:ext uri="{FF2B5EF4-FFF2-40B4-BE49-F238E27FC236}">
                  <a16:creationId xmlns:a16="http://schemas.microsoft.com/office/drawing/2014/main" id="{C8CB9E9E-69B0-456E-A26D-CDEB75DECC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0" y="3650"/>
              <a:ext cx="46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800" b="1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6</a:t>
              </a:r>
              <a:endParaRPr lang="en-US" b="1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4222" name="Rectangle 452">
              <a:extLst>
                <a:ext uri="{FF2B5EF4-FFF2-40B4-BE49-F238E27FC236}">
                  <a16:creationId xmlns:a16="http://schemas.microsoft.com/office/drawing/2014/main" id="{95526FA0-03F8-4EB2-82B7-F8DF8B8DB1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7" y="3650"/>
              <a:ext cx="46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800" b="1" dirty="0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8</a:t>
              </a:r>
              <a:endParaRPr lang="en-US" b="1" dirty="0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  <p:sp>
          <p:nvSpPr>
            <p:cNvPr id="4223" name="Rectangle 453">
              <a:extLst>
                <a:ext uri="{FF2B5EF4-FFF2-40B4-BE49-F238E27FC236}">
                  <a16:creationId xmlns:a16="http://schemas.microsoft.com/office/drawing/2014/main" id="{AD0FD732-9902-4327-8152-D0BAA36C1C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5" y="3650"/>
              <a:ext cx="91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800" b="1">
                  <a:solidFill>
                    <a:srgbClr val="000000"/>
                  </a:solidFill>
                  <a:latin typeface="Verdana" pitchFamily="-72" charset="0"/>
                  <a:ea typeface="ＭＳ Ｐゴシック" pitchFamily="-72" charset="-128"/>
                  <a:cs typeface="ＭＳ Ｐゴシック" pitchFamily="-72" charset="-128"/>
                </a:rPr>
                <a:t>10</a:t>
              </a:r>
              <a:endParaRPr lang="en-US" b="1">
                <a:latin typeface="Arial" pitchFamily="-72" charset="0"/>
                <a:ea typeface="ＭＳ Ｐゴシック" pitchFamily="-72" charset="-128"/>
                <a:cs typeface="ＭＳ Ｐゴシック" pitchFamily="-72" charset="-128"/>
              </a:endParaRPr>
            </a:p>
          </p:txBody>
        </p:sp>
      </p:grpSp>
      <p:sp>
        <p:nvSpPr>
          <p:cNvPr id="31769" name="Line 461">
            <a:extLst>
              <a:ext uri="{FF2B5EF4-FFF2-40B4-BE49-F238E27FC236}">
                <a16:creationId xmlns:a16="http://schemas.microsoft.com/office/drawing/2014/main" id="{C17E3274-555B-493A-B6B8-D775DEF8E3F3}"/>
              </a:ext>
            </a:extLst>
          </p:cNvPr>
          <p:cNvSpPr>
            <a:spLocks noChangeShapeType="1"/>
          </p:cNvSpPr>
          <p:nvPr/>
        </p:nvSpPr>
        <p:spPr bwMode="auto">
          <a:xfrm>
            <a:off x="4897438" y="1671638"/>
            <a:ext cx="3175" cy="3984625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31770" name="Group 135">
            <a:extLst>
              <a:ext uri="{FF2B5EF4-FFF2-40B4-BE49-F238E27FC236}">
                <a16:creationId xmlns:a16="http://schemas.microsoft.com/office/drawing/2014/main" id="{12E71DF2-902C-4753-8F46-3DA9D2C1E3D0}"/>
              </a:ext>
            </a:extLst>
          </p:cNvPr>
          <p:cNvGrpSpPr>
            <a:grpSpLocks/>
          </p:cNvGrpSpPr>
          <p:nvPr/>
        </p:nvGrpSpPr>
        <p:grpSpPr bwMode="auto">
          <a:xfrm>
            <a:off x="2255838" y="1920875"/>
            <a:ext cx="371475" cy="314325"/>
            <a:chOff x="5073650" y="2130425"/>
            <a:chExt cx="1948566" cy="1513809"/>
          </a:xfrm>
        </p:grpSpPr>
        <p:pic>
          <p:nvPicPr>
            <p:cNvPr id="31823" name="Picture 136">
              <a:extLst>
                <a:ext uri="{FF2B5EF4-FFF2-40B4-BE49-F238E27FC236}">
                  <a16:creationId xmlns:a16="http://schemas.microsoft.com/office/drawing/2014/main" id="{CE1D6EED-451C-41D2-9AEB-422300B0AF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6729" y="2130425"/>
              <a:ext cx="1857375" cy="1123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24" name="Picture 137">
              <a:extLst>
                <a:ext uri="{FF2B5EF4-FFF2-40B4-BE49-F238E27FC236}">
                  <a16:creationId xmlns:a16="http://schemas.microsoft.com/office/drawing/2014/main" id="{76F1DDF5-FF47-496D-9802-36AEDF98DE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3650" y="3218783"/>
              <a:ext cx="1948566" cy="425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771" name="Group 141">
            <a:extLst>
              <a:ext uri="{FF2B5EF4-FFF2-40B4-BE49-F238E27FC236}">
                <a16:creationId xmlns:a16="http://schemas.microsoft.com/office/drawing/2014/main" id="{D273AC58-B95E-42E9-9184-00BFED1590BA}"/>
              </a:ext>
            </a:extLst>
          </p:cNvPr>
          <p:cNvGrpSpPr>
            <a:grpSpLocks/>
          </p:cNvGrpSpPr>
          <p:nvPr/>
        </p:nvGrpSpPr>
        <p:grpSpPr bwMode="auto">
          <a:xfrm>
            <a:off x="2536825" y="3444875"/>
            <a:ext cx="463550" cy="328613"/>
            <a:chOff x="2460863" y="3592548"/>
            <a:chExt cx="463202" cy="329508"/>
          </a:xfrm>
        </p:grpSpPr>
        <p:pic>
          <p:nvPicPr>
            <p:cNvPr id="31821" name="Picture 142">
              <a:extLst>
                <a:ext uri="{FF2B5EF4-FFF2-40B4-BE49-F238E27FC236}">
                  <a16:creationId xmlns:a16="http://schemas.microsoft.com/office/drawing/2014/main" id="{B22BF5B8-3377-47E4-BD33-FF380038D9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0863" y="3592548"/>
              <a:ext cx="463202" cy="199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22" name="Picture 143">
              <a:extLst>
                <a:ext uri="{FF2B5EF4-FFF2-40B4-BE49-F238E27FC236}">
                  <a16:creationId xmlns:a16="http://schemas.microsoft.com/office/drawing/2014/main" id="{8A59A32C-93E8-4611-A329-3705B8A6A9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0867" y="3792018"/>
              <a:ext cx="410975" cy="130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1772" name="Picture 145">
            <a:extLst>
              <a:ext uri="{FF2B5EF4-FFF2-40B4-BE49-F238E27FC236}">
                <a16:creationId xmlns:a16="http://schemas.microsoft.com/office/drawing/2014/main" id="{C90BBB01-0AEF-4946-95D5-F84566A787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613" y="3328988"/>
            <a:ext cx="398462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73" name="Picture 146">
            <a:extLst>
              <a:ext uri="{FF2B5EF4-FFF2-40B4-BE49-F238E27FC236}">
                <a16:creationId xmlns:a16="http://schemas.microsoft.com/office/drawing/2014/main" id="{6B1612DC-5875-46BA-BD4B-758A5A798F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6863" y="3525838"/>
            <a:ext cx="461962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774" name="Group 147">
            <a:extLst>
              <a:ext uri="{FF2B5EF4-FFF2-40B4-BE49-F238E27FC236}">
                <a16:creationId xmlns:a16="http://schemas.microsoft.com/office/drawing/2014/main" id="{F194E858-F8E6-41D6-92EF-CC708CFDF666}"/>
              </a:ext>
            </a:extLst>
          </p:cNvPr>
          <p:cNvGrpSpPr>
            <a:grpSpLocks/>
          </p:cNvGrpSpPr>
          <p:nvPr/>
        </p:nvGrpSpPr>
        <p:grpSpPr bwMode="auto">
          <a:xfrm>
            <a:off x="3554413" y="4208463"/>
            <a:ext cx="414337" cy="369887"/>
            <a:chOff x="5073650" y="2292053"/>
            <a:chExt cx="1581150" cy="1560810"/>
          </a:xfrm>
        </p:grpSpPr>
        <p:pic>
          <p:nvPicPr>
            <p:cNvPr id="31819" name="Picture 148">
              <a:extLst>
                <a:ext uri="{FF2B5EF4-FFF2-40B4-BE49-F238E27FC236}">
                  <a16:creationId xmlns:a16="http://schemas.microsoft.com/office/drawing/2014/main" id="{238A2C43-506C-4F03-8F9C-94F1DE44D5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7551" y="2292053"/>
              <a:ext cx="1473348" cy="9813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20" name="Picture 149">
              <a:extLst>
                <a:ext uri="{FF2B5EF4-FFF2-40B4-BE49-F238E27FC236}">
                  <a16:creationId xmlns:a16="http://schemas.microsoft.com/office/drawing/2014/main" id="{74F33E87-24CC-465C-8951-E0A6DC5A32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3650" y="3290888"/>
              <a:ext cx="1581150" cy="561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775" name="Group 150">
            <a:extLst>
              <a:ext uri="{FF2B5EF4-FFF2-40B4-BE49-F238E27FC236}">
                <a16:creationId xmlns:a16="http://schemas.microsoft.com/office/drawing/2014/main" id="{ED5D1B2A-861E-46A0-9558-9F1289BF7619}"/>
              </a:ext>
            </a:extLst>
          </p:cNvPr>
          <p:cNvGrpSpPr>
            <a:grpSpLocks/>
          </p:cNvGrpSpPr>
          <p:nvPr/>
        </p:nvGrpSpPr>
        <p:grpSpPr bwMode="auto">
          <a:xfrm>
            <a:off x="2266950" y="4710113"/>
            <a:ext cx="458788" cy="266700"/>
            <a:chOff x="2216294" y="4624462"/>
            <a:chExt cx="458644" cy="267485"/>
          </a:xfrm>
        </p:grpSpPr>
        <p:pic>
          <p:nvPicPr>
            <p:cNvPr id="31817" name="Picture 151">
              <a:extLst>
                <a:ext uri="{FF2B5EF4-FFF2-40B4-BE49-F238E27FC236}">
                  <a16:creationId xmlns:a16="http://schemas.microsoft.com/office/drawing/2014/main" id="{409A9628-395C-4D32-9335-0D9B16BFC7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6294" y="4624462"/>
              <a:ext cx="458644" cy="112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18" name="Picture 152">
              <a:extLst>
                <a:ext uri="{FF2B5EF4-FFF2-40B4-BE49-F238E27FC236}">
                  <a16:creationId xmlns:a16="http://schemas.microsoft.com/office/drawing/2014/main" id="{713A1AC6-8F80-48B9-A04A-2EF3963A28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6087" y="4759330"/>
              <a:ext cx="408688" cy="1326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776" name="Group 153">
            <a:extLst>
              <a:ext uri="{FF2B5EF4-FFF2-40B4-BE49-F238E27FC236}">
                <a16:creationId xmlns:a16="http://schemas.microsoft.com/office/drawing/2014/main" id="{B609A083-68E4-416E-A084-3114BB0CD0EF}"/>
              </a:ext>
            </a:extLst>
          </p:cNvPr>
          <p:cNvGrpSpPr>
            <a:grpSpLocks/>
          </p:cNvGrpSpPr>
          <p:nvPr/>
        </p:nvGrpSpPr>
        <p:grpSpPr bwMode="auto">
          <a:xfrm>
            <a:off x="2052638" y="5192713"/>
            <a:ext cx="387350" cy="269875"/>
            <a:chOff x="2134253" y="4341228"/>
            <a:chExt cx="387799" cy="270187"/>
          </a:xfrm>
        </p:grpSpPr>
        <p:pic>
          <p:nvPicPr>
            <p:cNvPr id="31815" name="Picture 154">
              <a:extLst>
                <a:ext uri="{FF2B5EF4-FFF2-40B4-BE49-F238E27FC236}">
                  <a16:creationId xmlns:a16="http://schemas.microsoft.com/office/drawing/2014/main" id="{A53D2614-9A53-4FEE-8DED-ADA7355F9E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4253" y="4341228"/>
              <a:ext cx="386393" cy="170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16" name="Picture 155">
              <a:extLst>
                <a:ext uri="{FF2B5EF4-FFF2-40B4-BE49-F238E27FC236}">
                  <a16:creationId xmlns:a16="http://schemas.microsoft.com/office/drawing/2014/main" id="{7341E99F-B6F1-456B-BD31-5A506934FA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6853" y="4520508"/>
              <a:ext cx="385199" cy="909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777" name="Group 156">
            <a:extLst>
              <a:ext uri="{FF2B5EF4-FFF2-40B4-BE49-F238E27FC236}">
                <a16:creationId xmlns:a16="http://schemas.microsoft.com/office/drawing/2014/main" id="{DA57E247-7B68-4489-A376-56E1AD117F45}"/>
              </a:ext>
            </a:extLst>
          </p:cNvPr>
          <p:cNvGrpSpPr>
            <a:grpSpLocks/>
          </p:cNvGrpSpPr>
          <p:nvPr/>
        </p:nvGrpSpPr>
        <p:grpSpPr bwMode="auto">
          <a:xfrm>
            <a:off x="2878138" y="4670425"/>
            <a:ext cx="458787" cy="260350"/>
            <a:chOff x="2790093" y="4797083"/>
            <a:chExt cx="458644" cy="261879"/>
          </a:xfrm>
        </p:grpSpPr>
        <p:pic>
          <p:nvPicPr>
            <p:cNvPr id="31813" name="Picture 157">
              <a:extLst>
                <a:ext uri="{FF2B5EF4-FFF2-40B4-BE49-F238E27FC236}">
                  <a16:creationId xmlns:a16="http://schemas.microsoft.com/office/drawing/2014/main" id="{3789A797-3CA2-436F-9204-F806FED42A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90093" y="4797083"/>
              <a:ext cx="458644" cy="112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14" name="Picture 158">
              <a:extLst>
                <a:ext uri="{FF2B5EF4-FFF2-40B4-BE49-F238E27FC236}">
                  <a16:creationId xmlns:a16="http://schemas.microsoft.com/office/drawing/2014/main" id="{0FDBBC01-22C2-404F-BB9D-C328895A68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7918" y="4892061"/>
              <a:ext cx="418042" cy="1669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778" name="Group 159">
            <a:extLst>
              <a:ext uri="{FF2B5EF4-FFF2-40B4-BE49-F238E27FC236}">
                <a16:creationId xmlns:a16="http://schemas.microsoft.com/office/drawing/2014/main" id="{69F6350C-5F68-4A65-A33D-94AC78E1934B}"/>
              </a:ext>
            </a:extLst>
          </p:cNvPr>
          <p:cNvGrpSpPr>
            <a:grpSpLocks/>
          </p:cNvGrpSpPr>
          <p:nvPr/>
        </p:nvGrpSpPr>
        <p:grpSpPr bwMode="auto">
          <a:xfrm>
            <a:off x="2503488" y="4999038"/>
            <a:ext cx="700087" cy="644525"/>
            <a:chOff x="5089843" y="2939044"/>
            <a:chExt cx="555990" cy="489225"/>
          </a:xfrm>
        </p:grpSpPr>
        <p:pic>
          <p:nvPicPr>
            <p:cNvPr id="31811" name="Picture 160">
              <a:extLst>
                <a:ext uri="{FF2B5EF4-FFF2-40B4-BE49-F238E27FC236}">
                  <a16:creationId xmlns:a16="http://schemas.microsoft.com/office/drawing/2014/main" id="{E4A866F1-E4CC-4B33-89E1-44F95F081D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9843" y="2939044"/>
              <a:ext cx="555990" cy="2202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12" name="Picture 161">
              <a:extLst>
                <a:ext uri="{FF2B5EF4-FFF2-40B4-BE49-F238E27FC236}">
                  <a16:creationId xmlns:a16="http://schemas.microsoft.com/office/drawing/2014/main" id="{61F62CBB-2821-46ED-A7E2-CF58BDABEB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2841" y="3183076"/>
              <a:ext cx="232933" cy="245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779" name="Group 162">
            <a:extLst>
              <a:ext uri="{FF2B5EF4-FFF2-40B4-BE49-F238E27FC236}">
                <a16:creationId xmlns:a16="http://schemas.microsoft.com/office/drawing/2014/main" id="{D258AAE2-FDF7-49CC-B916-48529C67167D}"/>
              </a:ext>
            </a:extLst>
          </p:cNvPr>
          <p:cNvGrpSpPr>
            <a:grpSpLocks/>
          </p:cNvGrpSpPr>
          <p:nvPr/>
        </p:nvGrpSpPr>
        <p:grpSpPr bwMode="auto">
          <a:xfrm>
            <a:off x="3225800" y="4914900"/>
            <a:ext cx="463550" cy="479425"/>
            <a:chOff x="4933667" y="2811039"/>
            <a:chExt cx="463202" cy="480854"/>
          </a:xfrm>
        </p:grpSpPr>
        <p:pic>
          <p:nvPicPr>
            <p:cNvPr id="31809" name="Picture 163">
              <a:extLst>
                <a:ext uri="{FF2B5EF4-FFF2-40B4-BE49-F238E27FC236}">
                  <a16:creationId xmlns:a16="http://schemas.microsoft.com/office/drawing/2014/main" id="{E39EA18C-E684-4D26-93E6-C45360596D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3667" y="2811039"/>
              <a:ext cx="463202" cy="199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10" name="Picture 164">
              <a:extLst>
                <a:ext uri="{FF2B5EF4-FFF2-40B4-BE49-F238E27FC236}">
                  <a16:creationId xmlns:a16="http://schemas.microsoft.com/office/drawing/2014/main" id="{F9C2F310-F7F9-4C15-9E77-B25469B7EF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057" y="3014810"/>
              <a:ext cx="277083" cy="2770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780" name="Group 165">
            <a:extLst>
              <a:ext uri="{FF2B5EF4-FFF2-40B4-BE49-F238E27FC236}">
                <a16:creationId xmlns:a16="http://schemas.microsoft.com/office/drawing/2014/main" id="{90D4ECF0-25C2-4280-BA01-4FC8F721AAD2}"/>
              </a:ext>
            </a:extLst>
          </p:cNvPr>
          <p:cNvGrpSpPr>
            <a:grpSpLocks/>
          </p:cNvGrpSpPr>
          <p:nvPr/>
        </p:nvGrpSpPr>
        <p:grpSpPr bwMode="auto">
          <a:xfrm>
            <a:off x="3646488" y="5159375"/>
            <a:ext cx="387350" cy="339725"/>
            <a:chOff x="3396186" y="5215707"/>
            <a:chExt cx="386393" cy="340911"/>
          </a:xfrm>
        </p:grpSpPr>
        <p:pic>
          <p:nvPicPr>
            <p:cNvPr id="31807" name="Picture 166">
              <a:extLst>
                <a:ext uri="{FF2B5EF4-FFF2-40B4-BE49-F238E27FC236}">
                  <a16:creationId xmlns:a16="http://schemas.microsoft.com/office/drawing/2014/main" id="{67A43C36-F70A-41B7-8373-5528C3D086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6186" y="5215707"/>
              <a:ext cx="386393" cy="1704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08" name="Picture 167">
              <a:extLst>
                <a:ext uri="{FF2B5EF4-FFF2-40B4-BE49-F238E27FC236}">
                  <a16:creationId xmlns:a16="http://schemas.microsoft.com/office/drawing/2014/main" id="{7873575F-037E-4B30-9AC8-B1042ED25D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3071" y="5379733"/>
              <a:ext cx="272622" cy="1768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781" name="Group 168">
            <a:extLst>
              <a:ext uri="{FF2B5EF4-FFF2-40B4-BE49-F238E27FC236}">
                <a16:creationId xmlns:a16="http://schemas.microsoft.com/office/drawing/2014/main" id="{7F9EA103-E2E4-46B6-85BD-4130F920709E}"/>
              </a:ext>
            </a:extLst>
          </p:cNvPr>
          <p:cNvGrpSpPr>
            <a:grpSpLocks/>
          </p:cNvGrpSpPr>
          <p:nvPr/>
        </p:nvGrpSpPr>
        <p:grpSpPr bwMode="auto">
          <a:xfrm>
            <a:off x="3881438" y="4810125"/>
            <a:ext cx="347662" cy="373063"/>
            <a:chOff x="4008437" y="3998305"/>
            <a:chExt cx="1857375" cy="1683382"/>
          </a:xfrm>
        </p:grpSpPr>
        <p:pic>
          <p:nvPicPr>
            <p:cNvPr id="31805" name="Picture 169">
              <a:extLst>
                <a:ext uri="{FF2B5EF4-FFF2-40B4-BE49-F238E27FC236}">
                  <a16:creationId xmlns:a16="http://schemas.microsoft.com/office/drawing/2014/main" id="{6E1595DA-1E27-42D9-A1F2-B860E71875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4348" y="4836148"/>
              <a:ext cx="1761539" cy="8455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06" name="Picture 170">
              <a:extLst>
                <a:ext uri="{FF2B5EF4-FFF2-40B4-BE49-F238E27FC236}">
                  <a16:creationId xmlns:a16="http://schemas.microsoft.com/office/drawing/2014/main" id="{873194C3-D8CF-45F8-BCCA-E73FC10A155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8437" y="3998305"/>
              <a:ext cx="1857375" cy="1123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782" name="Group 171">
            <a:extLst>
              <a:ext uri="{FF2B5EF4-FFF2-40B4-BE49-F238E27FC236}">
                <a16:creationId xmlns:a16="http://schemas.microsoft.com/office/drawing/2014/main" id="{840C6198-09AF-4C71-8B92-3C25EACFB246}"/>
              </a:ext>
            </a:extLst>
          </p:cNvPr>
          <p:cNvGrpSpPr>
            <a:grpSpLocks/>
          </p:cNvGrpSpPr>
          <p:nvPr/>
        </p:nvGrpSpPr>
        <p:grpSpPr bwMode="auto">
          <a:xfrm>
            <a:off x="4352925" y="4275138"/>
            <a:ext cx="382588" cy="379412"/>
            <a:chOff x="3625533" y="2333813"/>
            <a:chExt cx="1701526" cy="2050513"/>
          </a:xfrm>
        </p:grpSpPr>
        <p:pic>
          <p:nvPicPr>
            <p:cNvPr id="31803" name="Picture 172">
              <a:extLst>
                <a:ext uri="{FF2B5EF4-FFF2-40B4-BE49-F238E27FC236}">
                  <a16:creationId xmlns:a16="http://schemas.microsoft.com/office/drawing/2014/main" id="{857FC9B7-C988-4536-8D4D-C0D71A038E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1569" y="2333813"/>
              <a:ext cx="1675490" cy="13905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04" name="Picture 173">
              <a:extLst>
                <a:ext uri="{FF2B5EF4-FFF2-40B4-BE49-F238E27FC236}">
                  <a16:creationId xmlns:a16="http://schemas.microsoft.com/office/drawing/2014/main" id="{8F0FDBED-510B-40A9-8E7E-905139E3BF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5533" y="3737650"/>
              <a:ext cx="1644092" cy="6466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783" name="Group 174">
            <a:extLst>
              <a:ext uri="{FF2B5EF4-FFF2-40B4-BE49-F238E27FC236}">
                <a16:creationId xmlns:a16="http://schemas.microsoft.com/office/drawing/2014/main" id="{C963D778-14F1-4519-A5A9-598962A8BACF}"/>
              </a:ext>
            </a:extLst>
          </p:cNvPr>
          <p:cNvGrpSpPr>
            <a:grpSpLocks/>
          </p:cNvGrpSpPr>
          <p:nvPr/>
        </p:nvGrpSpPr>
        <p:grpSpPr bwMode="auto">
          <a:xfrm>
            <a:off x="4705350" y="4613275"/>
            <a:ext cx="368300" cy="452438"/>
            <a:chOff x="5222105" y="1972285"/>
            <a:chExt cx="1048671" cy="1502231"/>
          </a:xfrm>
        </p:grpSpPr>
        <p:pic>
          <p:nvPicPr>
            <p:cNvPr id="31801" name="Picture 175">
              <a:extLst>
                <a:ext uri="{FF2B5EF4-FFF2-40B4-BE49-F238E27FC236}">
                  <a16:creationId xmlns:a16="http://schemas.microsoft.com/office/drawing/2014/main" id="{919D0ECB-358E-4E4B-8A24-6DAE9FAF49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22105" y="1972285"/>
              <a:ext cx="1048671" cy="698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02" name="Picture 176">
              <a:extLst>
                <a:ext uri="{FF2B5EF4-FFF2-40B4-BE49-F238E27FC236}">
                  <a16:creationId xmlns:a16="http://schemas.microsoft.com/office/drawing/2014/main" id="{885B0BAE-107F-4D0F-87E0-779C3B0AEE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56918" y="2694600"/>
              <a:ext cx="979043" cy="779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784" name="Group 177">
            <a:extLst>
              <a:ext uri="{FF2B5EF4-FFF2-40B4-BE49-F238E27FC236}">
                <a16:creationId xmlns:a16="http://schemas.microsoft.com/office/drawing/2014/main" id="{9833EE78-BFC8-4C81-BA12-EA1733A5163F}"/>
              </a:ext>
            </a:extLst>
          </p:cNvPr>
          <p:cNvGrpSpPr>
            <a:grpSpLocks/>
          </p:cNvGrpSpPr>
          <p:nvPr/>
        </p:nvGrpSpPr>
        <p:grpSpPr bwMode="auto">
          <a:xfrm>
            <a:off x="4778375" y="5084763"/>
            <a:ext cx="687388" cy="568325"/>
            <a:chOff x="4241437" y="5293279"/>
            <a:chExt cx="555990" cy="456646"/>
          </a:xfrm>
        </p:grpSpPr>
        <p:pic>
          <p:nvPicPr>
            <p:cNvPr id="31799" name="Picture 178">
              <a:extLst>
                <a:ext uri="{FF2B5EF4-FFF2-40B4-BE49-F238E27FC236}">
                  <a16:creationId xmlns:a16="http://schemas.microsoft.com/office/drawing/2014/main" id="{FDE627B6-F731-4065-A982-BDC45A9BD5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77906" y="5511878"/>
              <a:ext cx="508516" cy="238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00" name="Picture 179">
              <a:extLst>
                <a:ext uri="{FF2B5EF4-FFF2-40B4-BE49-F238E27FC236}">
                  <a16:creationId xmlns:a16="http://schemas.microsoft.com/office/drawing/2014/main" id="{0A7F2F96-56BE-4B4C-83E4-9D65B3B3E0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41437" y="5293279"/>
              <a:ext cx="555990" cy="2202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1785" name="Picture 180">
            <a:extLst>
              <a:ext uri="{FF2B5EF4-FFF2-40B4-BE49-F238E27FC236}">
                <a16:creationId xmlns:a16="http://schemas.microsoft.com/office/drawing/2014/main" id="{188B8B15-AA9B-4D4F-B9FC-E75BC71064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463" y="4851400"/>
            <a:ext cx="436562" cy="26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786" name="Group 181">
            <a:extLst>
              <a:ext uri="{FF2B5EF4-FFF2-40B4-BE49-F238E27FC236}">
                <a16:creationId xmlns:a16="http://schemas.microsoft.com/office/drawing/2014/main" id="{18371407-5F24-4E8F-B22E-4A5F44E7DFB0}"/>
              </a:ext>
            </a:extLst>
          </p:cNvPr>
          <p:cNvGrpSpPr>
            <a:grpSpLocks/>
          </p:cNvGrpSpPr>
          <p:nvPr/>
        </p:nvGrpSpPr>
        <p:grpSpPr bwMode="auto">
          <a:xfrm>
            <a:off x="5703888" y="4321175"/>
            <a:ext cx="341312" cy="295275"/>
            <a:chOff x="5235630" y="2253056"/>
            <a:chExt cx="1374666" cy="1008131"/>
          </a:xfrm>
        </p:grpSpPr>
        <p:pic>
          <p:nvPicPr>
            <p:cNvPr id="31797" name="Picture 182">
              <a:extLst>
                <a:ext uri="{FF2B5EF4-FFF2-40B4-BE49-F238E27FC236}">
                  <a16:creationId xmlns:a16="http://schemas.microsoft.com/office/drawing/2014/main" id="{6D1C5AA3-8396-4362-925D-5A161D2FBF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7005" y="3056971"/>
              <a:ext cx="1310640" cy="204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98" name="Picture 183">
              <a:extLst>
                <a:ext uri="{FF2B5EF4-FFF2-40B4-BE49-F238E27FC236}">
                  <a16:creationId xmlns:a16="http://schemas.microsoft.com/office/drawing/2014/main" id="{856072C7-A76D-4994-A12A-C65BF8091D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5630" y="2253056"/>
              <a:ext cx="1374666" cy="831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787" name="Group 184">
            <a:extLst>
              <a:ext uri="{FF2B5EF4-FFF2-40B4-BE49-F238E27FC236}">
                <a16:creationId xmlns:a16="http://schemas.microsoft.com/office/drawing/2014/main" id="{97F48524-D489-447A-8F8A-4EFA40EC765A}"/>
              </a:ext>
            </a:extLst>
          </p:cNvPr>
          <p:cNvGrpSpPr>
            <a:grpSpLocks/>
          </p:cNvGrpSpPr>
          <p:nvPr/>
        </p:nvGrpSpPr>
        <p:grpSpPr bwMode="auto">
          <a:xfrm>
            <a:off x="5724525" y="3983038"/>
            <a:ext cx="434975" cy="285750"/>
            <a:chOff x="4618943" y="1913292"/>
            <a:chExt cx="3014791" cy="1518928"/>
          </a:xfrm>
        </p:grpSpPr>
        <p:pic>
          <p:nvPicPr>
            <p:cNvPr id="31795" name="Picture 185">
              <a:extLst>
                <a:ext uri="{FF2B5EF4-FFF2-40B4-BE49-F238E27FC236}">
                  <a16:creationId xmlns:a16="http://schemas.microsoft.com/office/drawing/2014/main" id="{11AA6D7F-0C56-4B65-887E-3D93F24766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8943" y="1913292"/>
              <a:ext cx="3014791" cy="8390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96" name="Picture 186">
              <a:extLst>
                <a:ext uri="{FF2B5EF4-FFF2-40B4-BE49-F238E27FC236}">
                  <a16:creationId xmlns:a16="http://schemas.microsoft.com/office/drawing/2014/main" id="{8E435F71-2981-4381-8FE6-3B5F7BC944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5368" y="2592978"/>
              <a:ext cx="2736659" cy="839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9EC8863-DE52-4C74-89FE-0AC53DD20AFA}"/>
              </a:ext>
            </a:extLst>
          </p:cNvPr>
          <p:cNvSpPr txBox="1"/>
          <p:nvPr/>
        </p:nvSpPr>
        <p:spPr>
          <a:xfrm>
            <a:off x="5722402" y="2168868"/>
            <a:ext cx="1922479" cy="954107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1400" b="1" dirty="0">
                <a:solidFill>
                  <a:schemeClr val="bg1"/>
                </a:solidFill>
                <a:latin typeface="Arial" pitchFamily="-72" charset="0"/>
                <a:ea typeface="ＭＳ Ｐゴシック" pitchFamily="-72" charset="-128"/>
                <a:cs typeface="ＭＳ Ｐゴシック" pitchFamily="-72" charset="-128"/>
              </a:rPr>
              <a:t>Acquisition revenue multiples range 8-12 on average, 1 to 5 years after founding</a:t>
            </a:r>
          </a:p>
        </p:txBody>
      </p:sp>
      <p:sp>
        <p:nvSpPr>
          <p:cNvPr id="100" name="TextBox 7">
            <a:extLst>
              <a:ext uri="{FF2B5EF4-FFF2-40B4-BE49-F238E27FC236}">
                <a16:creationId xmlns:a16="http://schemas.microsoft.com/office/drawing/2014/main" id="{241AFC7C-4EAE-447C-8510-EDEB2EA686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Wearable Market Consolidation</a:t>
            </a:r>
          </a:p>
        </p:txBody>
      </p:sp>
      <p:pic>
        <p:nvPicPr>
          <p:cNvPr id="31792" name="Picture 97">
            <a:extLst>
              <a:ext uri="{FF2B5EF4-FFF2-40B4-BE49-F238E27FC236}">
                <a16:creationId xmlns:a16="http://schemas.microsoft.com/office/drawing/2014/main" id="{0AE10EFB-C5C7-4875-AB59-CE1557DA6E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9" name="Footer Placeholder 3">
            <a:extLst>
              <a:ext uri="{FF2B5EF4-FFF2-40B4-BE49-F238E27FC236}">
                <a16:creationId xmlns:a16="http://schemas.microsoft.com/office/drawing/2014/main" id="{A20F028C-4349-4157-8484-7D2279BEF2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101" name="Slide Number Placeholder 5">
            <a:extLst>
              <a:ext uri="{FF2B5EF4-FFF2-40B4-BE49-F238E27FC236}">
                <a16:creationId xmlns:a16="http://schemas.microsoft.com/office/drawing/2014/main" id="{03BFB600-024F-4177-828A-C74D48A57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AE007B4E-B6FF-4299-B808-FA3A18661F03}" type="slidenum">
              <a:rPr lang="en-US" sz="950" b="1"/>
              <a:pPr>
                <a:defRPr/>
              </a:pPr>
              <a:t>6</a:t>
            </a:fld>
            <a:endParaRPr lang="en-US" sz="950" b="1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7">
            <a:extLst>
              <a:ext uri="{FF2B5EF4-FFF2-40B4-BE49-F238E27FC236}">
                <a16:creationId xmlns:a16="http://schemas.microsoft.com/office/drawing/2014/main" id="{29CDED87-21A1-4B55-BB79-B42D703AB3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Potential Acquisition Partners</a:t>
            </a:r>
          </a:p>
        </p:txBody>
      </p:sp>
      <p:pic>
        <p:nvPicPr>
          <p:cNvPr id="33795" name="Picture 20">
            <a:extLst>
              <a:ext uri="{FF2B5EF4-FFF2-40B4-BE49-F238E27FC236}">
                <a16:creationId xmlns:a16="http://schemas.microsoft.com/office/drawing/2014/main" id="{51A5D51E-6AE1-4FF6-BA72-98A258182E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DC2B824D-10C5-4188-9804-5329C4D9F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1383E5FD-1C90-477B-939F-4A21C47019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CAB7F983-E02D-4D7B-9D32-55009B6E3875}" type="slidenum">
              <a:rPr lang="en-US" sz="950" b="1"/>
              <a:pPr>
                <a:defRPr/>
              </a:pPr>
              <a:t>7</a:t>
            </a:fld>
            <a:endParaRPr lang="en-US" sz="950" b="1" dirty="0"/>
          </a:p>
        </p:txBody>
      </p:sp>
      <p:sp>
        <p:nvSpPr>
          <p:cNvPr id="24" name="Arc 2">
            <a:extLst>
              <a:ext uri="{FF2B5EF4-FFF2-40B4-BE49-F238E27FC236}">
                <a16:creationId xmlns:a16="http://schemas.microsoft.com/office/drawing/2014/main" id="{F97209F7-C148-498B-8338-C544D8D6EA41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468438" y="3948113"/>
            <a:ext cx="6218237" cy="1857375"/>
          </a:xfrm>
          <a:custGeom>
            <a:avLst/>
            <a:gdLst>
              <a:gd name="T0" fmla="*/ 6218237 w 35296"/>
              <a:gd name="T1" fmla="*/ 1073752 h 21600"/>
              <a:gd name="T2" fmla="*/ 0 w 35296"/>
              <a:gd name="T3" fmla="*/ 1068077 h 21600"/>
              <a:gd name="T4" fmla="*/ 3113171 w 35296"/>
              <a:gd name="T5" fmla="*/ 0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35296" h="21600" fill="none" extrusionOk="0">
                <a:moveTo>
                  <a:pt x="35295" y="12486"/>
                </a:moveTo>
                <a:cubicBezTo>
                  <a:pt x="31246" y="18202"/>
                  <a:pt x="24676" y="21599"/>
                  <a:pt x="17671" y="21600"/>
                </a:cubicBezTo>
                <a:cubicBezTo>
                  <a:pt x="10637" y="21600"/>
                  <a:pt x="4044" y="18175"/>
                  <a:pt x="-1" y="12421"/>
                </a:cubicBezTo>
              </a:path>
              <a:path w="35296" h="21600" stroke="0" extrusionOk="0">
                <a:moveTo>
                  <a:pt x="35295" y="12486"/>
                </a:moveTo>
                <a:cubicBezTo>
                  <a:pt x="31246" y="18202"/>
                  <a:pt x="24676" y="21599"/>
                  <a:pt x="17671" y="21600"/>
                </a:cubicBezTo>
                <a:cubicBezTo>
                  <a:pt x="10637" y="21600"/>
                  <a:pt x="4044" y="18175"/>
                  <a:pt x="-1" y="12421"/>
                </a:cubicBezTo>
                <a:lnTo>
                  <a:pt x="17671" y="0"/>
                </a:lnTo>
                <a:lnTo>
                  <a:pt x="35295" y="12486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5875">
            <a:solidFill>
              <a:srgbClr val="2F5DC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1" hangingPunct="1">
              <a:defRPr/>
            </a:pPr>
            <a:endParaRPr lang="en-US"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25" name="Arc 3">
            <a:extLst>
              <a:ext uri="{FF2B5EF4-FFF2-40B4-BE49-F238E27FC236}">
                <a16:creationId xmlns:a16="http://schemas.microsoft.com/office/drawing/2014/main" id="{88B268CC-7544-4716-A788-E2E4510672AC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auto">
          <a:xfrm flipV="1">
            <a:off x="1473200" y="1906588"/>
            <a:ext cx="6211888" cy="1857375"/>
          </a:xfrm>
          <a:custGeom>
            <a:avLst/>
            <a:gdLst>
              <a:gd name="T0" fmla="*/ 6211888 w 35268"/>
              <a:gd name="T1" fmla="*/ 1064465 h 21600"/>
              <a:gd name="T2" fmla="*/ 0 w 35268"/>
              <a:gd name="T3" fmla="*/ 1080717 h 21600"/>
              <a:gd name="T4" fmla="*/ 3094143 w 35268"/>
              <a:gd name="T5" fmla="*/ 0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35268" h="21600" fill="none" extrusionOk="0">
                <a:moveTo>
                  <a:pt x="35267" y="12378"/>
                </a:moveTo>
                <a:cubicBezTo>
                  <a:pt x="31226" y="18157"/>
                  <a:pt x="24618" y="21599"/>
                  <a:pt x="17567" y="21600"/>
                </a:cubicBezTo>
                <a:cubicBezTo>
                  <a:pt x="10597" y="21600"/>
                  <a:pt x="4055" y="18236"/>
                  <a:pt x="-1" y="12568"/>
                </a:cubicBezTo>
              </a:path>
              <a:path w="35268" h="21600" stroke="0" extrusionOk="0">
                <a:moveTo>
                  <a:pt x="35267" y="12378"/>
                </a:moveTo>
                <a:cubicBezTo>
                  <a:pt x="31226" y="18157"/>
                  <a:pt x="24618" y="21599"/>
                  <a:pt x="17567" y="21600"/>
                </a:cubicBezTo>
                <a:cubicBezTo>
                  <a:pt x="10597" y="21600"/>
                  <a:pt x="4055" y="18236"/>
                  <a:pt x="-1" y="12568"/>
                </a:cubicBezTo>
                <a:lnTo>
                  <a:pt x="17567" y="0"/>
                </a:lnTo>
                <a:lnTo>
                  <a:pt x="35267" y="12378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5875">
            <a:solidFill>
              <a:srgbClr val="2F5DC3"/>
            </a:solidFill>
            <a:round/>
            <a:headEnd/>
            <a:tailEnd/>
          </a:ln>
        </p:spPr>
        <p:txBody>
          <a:bodyPr rot="10800000" wrap="none" lIns="0" tIns="0" rIns="0" bIns="0" anchor="ctr"/>
          <a:lstStyle/>
          <a:p>
            <a:pPr eaLnBrk="1" hangingPunct="1">
              <a:defRPr/>
            </a:pPr>
            <a:endParaRPr lang="en-US"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26" name="Arc 4">
            <a:extLst>
              <a:ext uri="{FF2B5EF4-FFF2-40B4-BE49-F238E27FC236}">
                <a16:creationId xmlns:a16="http://schemas.microsoft.com/office/drawing/2014/main" id="{001EE8F5-04CD-405B-B741-B02970271E49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 flipV="1">
            <a:off x="4633913" y="2765425"/>
            <a:ext cx="3825875" cy="2198688"/>
          </a:xfrm>
          <a:custGeom>
            <a:avLst/>
            <a:gdLst>
              <a:gd name="T0" fmla="*/ 3136863 w 21600"/>
              <a:gd name="T1" fmla="*/ 0 h 24708"/>
              <a:gd name="T2" fmla="*/ 3139697 w 21600"/>
              <a:gd name="T3" fmla="*/ 2198688 h 24708"/>
              <a:gd name="T4" fmla="*/ 0 w 21600"/>
              <a:gd name="T5" fmla="*/ 1100412 h 2470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24708" fill="none" extrusionOk="0">
                <a:moveTo>
                  <a:pt x="17709" y="0"/>
                </a:moveTo>
                <a:cubicBezTo>
                  <a:pt x="20242" y="3626"/>
                  <a:pt x="21600" y="7942"/>
                  <a:pt x="21600" y="12366"/>
                </a:cubicBezTo>
                <a:cubicBezTo>
                  <a:pt x="21600" y="16779"/>
                  <a:pt x="20248" y="21086"/>
                  <a:pt x="17726" y="24708"/>
                </a:cubicBezTo>
              </a:path>
              <a:path w="21600" h="24708" stroke="0" extrusionOk="0">
                <a:moveTo>
                  <a:pt x="17709" y="0"/>
                </a:moveTo>
                <a:cubicBezTo>
                  <a:pt x="20242" y="3626"/>
                  <a:pt x="21600" y="7942"/>
                  <a:pt x="21600" y="12366"/>
                </a:cubicBezTo>
                <a:cubicBezTo>
                  <a:pt x="21600" y="16779"/>
                  <a:pt x="20248" y="21086"/>
                  <a:pt x="17726" y="24708"/>
                </a:cubicBezTo>
                <a:lnTo>
                  <a:pt x="0" y="12366"/>
                </a:lnTo>
                <a:lnTo>
                  <a:pt x="17709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5875">
            <a:solidFill>
              <a:srgbClr val="2F5DC3"/>
            </a:solidFill>
            <a:round/>
            <a:headEnd/>
            <a:tailEnd/>
          </a:ln>
        </p:spPr>
        <p:txBody>
          <a:bodyPr rot="10800000" wrap="none" lIns="0" tIns="0" rIns="0" bIns="0" anchor="ctr"/>
          <a:lstStyle/>
          <a:p>
            <a:pPr eaLnBrk="1" hangingPunct="1">
              <a:defRPr/>
            </a:pPr>
            <a:endParaRPr lang="en-US"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27" name="Arc 7">
            <a:extLst>
              <a:ext uri="{FF2B5EF4-FFF2-40B4-BE49-F238E27FC236}">
                <a16:creationId xmlns:a16="http://schemas.microsoft.com/office/drawing/2014/main" id="{13273B68-34DF-454B-9B5C-F4B035000413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 flipH="1">
            <a:off x="684213" y="2747963"/>
            <a:ext cx="3825875" cy="2198687"/>
          </a:xfrm>
          <a:custGeom>
            <a:avLst/>
            <a:gdLst>
              <a:gd name="T0" fmla="*/ 3136863 w 21600"/>
              <a:gd name="T1" fmla="*/ 0 h 24708"/>
              <a:gd name="T2" fmla="*/ 3139697 w 21600"/>
              <a:gd name="T3" fmla="*/ 2198687 h 24708"/>
              <a:gd name="T4" fmla="*/ 0 w 21600"/>
              <a:gd name="T5" fmla="*/ 1100411 h 2470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24708" fill="none" extrusionOk="0">
                <a:moveTo>
                  <a:pt x="17709" y="0"/>
                </a:moveTo>
                <a:cubicBezTo>
                  <a:pt x="20242" y="3626"/>
                  <a:pt x="21600" y="7942"/>
                  <a:pt x="21600" y="12366"/>
                </a:cubicBezTo>
                <a:cubicBezTo>
                  <a:pt x="21600" y="16779"/>
                  <a:pt x="20248" y="21086"/>
                  <a:pt x="17726" y="24708"/>
                </a:cubicBezTo>
              </a:path>
              <a:path w="21600" h="24708" stroke="0" extrusionOk="0">
                <a:moveTo>
                  <a:pt x="17709" y="0"/>
                </a:moveTo>
                <a:cubicBezTo>
                  <a:pt x="20242" y="3626"/>
                  <a:pt x="21600" y="7942"/>
                  <a:pt x="21600" y="12366"/>
                </a:cubicBezTo>
                <a:cubicBezTo>
                  <a:pt x="21600" y="16779"/>
                  <a:pt x="20248" y="21086"/>
                  <a:pt x="17726" y="24708"/>
                </a:cubicBezTo>
                <a:lnTo>
                  <a:pt x="0" y="12366"/>
                </a:lnTo>
                <a:lnTo>
                  <a:pt x="17709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15875">
            <a:solidFill>
              <a:srgbClr val="2F5DC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1" hangingPunct="1">
              <a:defRPr/>
            </a:pPr>
            <a:endParaRPr lang="en-US"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  <p:sp>
        <p:nvSpPr>
          <p:cNvPr id="33802" name="Oval 8">
            <a:extLst>
              <a:ext uri="{FF2B5EF4-FFF2-40B4-BE49-F238E27FC236}">
                <a16:creationId xmlns:a16="http://schemas.microsoft.com/office/drawing/2014/main" id="{0F1BFBC2-2D5E-4F46-95A3-C8869DC44FEC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624263" y="3281363"/>
            <a:ext cx="1895475" cy="10922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2F5DC3"/>
            </a:solidFill>
            <a:round/>
            <a:headEnd/>
            <a:tailEnd/>
          </a:ln>
        </p:spPr>
        <p:txBody>
          <a:bodyPr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0" algn="l"/>
              </a:tabLst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573088" indent="-233363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0" algn="l"/>
              </a:tabLst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908050" indent="-220663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0" algn="l"/>
              </a:tabLst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25095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0" algn="l"/>
              </a:tabLst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159385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0" algn="l"/>
              </a:tabLst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0510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0" algn="l"/>
              </a:tabLst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5082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0" algn="l"/>
              </a:tabLst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29654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0" algn="l"/>
              </a:tabLst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4226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0" algn="l"/>
              </a:tabLst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20000"/>
              </a:spcBef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None/>
            </a:pPr>
            <a:endParaRPr lang="en-GB" altLang="en-US" sz="1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803" name="Rectangle 9">
            <a:extLst>
              <a:ext uri="{FF2B5EF4-FFF2-40B4-BE49-F238E27FC236}">
                <a16:creationId xmlns:a16="http://schemas.microsoft.com/office/drawing/2014/main" id="{EBB94C82-1865-4E04-B915-183B1511DFC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314700" y="4560888"/>
            <a:ext cx="1189038" cy="830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466725" indent="-233363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688975" indent="-220663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919163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114935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16065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0637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25209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29781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Apple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Google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Microsoft</a:t>
            </a:r>
          </a:p>
        </p:txBody>
      </p:sp>
      <p:sp>
        <p:nvSpPr>
          <p:cNvPr id="33804" name="Oval 10">
            <a:extLst>
              <a:ext uri="{FF2B5EF4-FFF2-40B4-BE49-F238E27FC236}">
                <a16:creationId xmlns:a16="http://schemas.microsoft.com/office/drawing/2014/main" id="{8FD9ED52-69DB-49E5-BC4F-B4075DC44ADD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965575" y="5451475"/>
            <a:ext cx="1201738" cy="671513"/>
          </a:xfrm>
          <a:prstGeom prst="ellipse">
            <a:avLst/>
          </a:prstGeom>
          <a:solidFill>
            <a:schemeClr val="bg1"/>
          </a:solidFill>
          <a:ln w="158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en-GB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Big Tech</a:t>
            </a:r>
          </a:p>
        </p:txBody>
      </p:sp>
      <p:sp>
        <p:nvSpPr>
          <p:cNvPr id="33805" name="Oval 11">
            <a:extLst>
              <a:ext uri="{FF2B5EF4-FFF2-40B4-BE49-F238E27FC236}">
                <a16:creationId xmlns:a16="http://schemas.microsoft.com/office/drawing/2014/main" id="{6BC28699-BEC7-4FB5-9C8D-61D1AB6565B1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808913" y="3573463"/>
            <a:ext cx="1133475" cy="569912"/>
          </a:xfrm>
          <a:prstGeom prst="ellipse">
            <a:avLst/>
          </a:prstGeom>
          <a:solidFill>
            <a:schemeClr val="bg1"/>
          </a:solidFill>
          <a:ln w="158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en-GB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Medical</a:t>
            </a: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en-GB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Devices</a:t>
            </a:r>
          </a:p>
        </p:txBody>
      </p:sp>
      <p:sp>
        <p:nvSpPr>
          <p:cNvPr id="33806" name="Oval 12">
            <a:extLst>
              <a:ext uri="{FF2B5EF4-FFF2-40B4-BE49-F238E27FC236}">
                <a16:creationId xmlns:a16="http://schemas.microsoft.com/office/drawing/2014/main" id="{0BEA1336-2D05-4A97-BE7D-EB5E64196310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77800" y="3573463"/>
            <a:ext cx="1200150" cy="593725"/>
          </a:xfrm>
          <a:prstGeom prst="ellipse">
            <a:avLst/>
          </a:prstGeom>
          <a:solidFill>
            <a:schemeClr val="bg1"/>
          </a:solidFill>
          <a:ln w="158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en-GB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Pediatric</a:t>
            </a: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en-GB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Focus</a:t>
            </a:r>
          </a:p>
        </p:txBody>
      </p:sp>
      <p:sp>
        <p:nvSpPr>
          <p:cNvPr id="33807" name="Oval 13">
            <a:extLst>
              <a:ext uri="{FF2B5EF4-FFF2-40B4-BE49-F238E27FC236}">
                <a16:creationId xmlns:a16="http://schemas.microsoft.com/office/drawing/2014/main" id="{6B855DDE-CF78-4E00-9076-02672EC728C7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889375" y="1606550"/>
            <a:ext cx="1241425" cy="657225"/>
          </a:xfrm>
          <a:prstGeom prst="ellipse">
            <a:avLst/>
          </a:prstGeom>
          <a:solidFill>
            <a:schemeClr val="bg1"/>
          </a:solidFill>
          <a:ln w="158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742950" indent="-28575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114300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160020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205740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25146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9718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34290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388620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en-GB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Biometric</a:t>
            </a: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en-GB" altLang="en-US" sz="1400" b="1">
                <a:latin typeface="Arial" panose="020B0604020202020204" pitchFamily="34" charset="0"/>
                <a:cs typeface="Arial" panose="020B0604020202020204" pitchFamily="34" charset="0"/>
              </a:rPr>
              <a:t>Wearables</a:t>
            </a:r>
          </a:p>
        </p:txBody>
      </p:sp>
      <p:sp>
        <p:nvSpPr>
          <p:cNvPr id="33808" name="Rectangle 15">
            <a:extLst>
              <a:ext uri="{FF2B5EF4-FFF2-40B4-BE49-F238E27FC236}">
                <a16:creationId xmlns:a16="http://schemas.microsoft.com/office/drawing/2014/main" id="{A8226EE6-A817-4780-904A-A1E3F386BABD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408363" y="2281238"/>
            <a:ext cx="1095375" cy="830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466725" indent="-233363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688975" indent="-220663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919163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114935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16065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0637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25209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29781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Fitbit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Jawbone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Fossil</a:t>
            </a:r>
          </a:p>
        </p:txBody>
      </p:sp>
      <p:sp>
        <p:nvSpPr>
          <p:cNvPr id="35" name="Rectangle 16">
            <a:extLst>
              <a:ext uri="{FF2B5EF4-FFF2-40B4-BE49-F238E27FC236}">
                <a16:creationId xmlns:a16="http://schemas.microsoft.com/office/drawing/2014/main" id="{032D3E0B-D2C9-4458-89B2-1440DED24C0A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076325" y="3160713"/>
            <a:ext cx="2424113" cy="1322387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>
            <a:spAutoFit/>
          </a:bodyPr>
          <a:lstStyle>
            <a:lvl1pPr marL="231775" indent="-231775"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defRPr sz="16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6725" indent="-233363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8975" indent="-220663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9163" indent="-22860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9350" indent="-22860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0655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06375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2095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7815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34950" lvl="1" indent="0" eaLnBrk="1" hangingPunct="1">
              <a:spcAft>
                <a:spcPts val="0"/>
              </a:spcAft>
              <a:defRPr/>
            </a:pPr>
            <a:r>
              <a:rPr lang="en-US" sz="1600" b="1" i="1" dirty="0">
                <a:latin typeface="+mn-lt"/>
                <a:ea typeface="ＭＳ Ｐゴシック" pitchFamily="-72" charset="-128"/>
              </a:rPr>
              <a:t>Nestlé Group </a:t>
            </a:r>
          </a:p>
          <a:p>
            <a:pPr marL="234950" lvl="1" indent="0" eaLnBrk="1" hangingPunct="1">
              <a:spcAft>
                <a:spcPts val="0"/>
              </a:spcAft>
              <a:defRPr/>
            </a:pPr>
            <a:r>
              <a:rPr lang="en-US" sz="1600" b="1" i="1" dirty="0">
                <a:latin typeface="+mn-lt"/>
                <a:ea typeface="ＭＳ Ｐゴシック" pitchFamily="-72" charset="-128"/>
              </a:rPr>
              <a:t>Kimberly Clark</a:t>
            </a:r>
          </a:p>
          <a:p>
            <a:pPr marL="457200" lvl="2" indent="0" eaLnBrk="1" hangingPunct="1">
              <a:spcAft>
                <a:spcPts val="0"/>
              </a:spcAft>
              <a:buFontTx/>
              <a:buNone/>
              <a:defRPr/>
            </a:pPr>
            <a:r>
              <a:rPr lang="en-US" sz="1600" b="1" i="1" dirty="0">
                <a:latin typeface="+mn-lt"/>
                <a:ea typeface="ＭＳ Ｐゴシック" pitchFamily="-72" charset="-128"/>
              </a:rPr>
              <a:t>Johnson &amp; Johnson</a:t>
            </a:r>
          </a:p>
          <a:p>
            <a:pPr marL="234950" lvl="1" indent="0" eaLnBrk="1" hangingPunct="1">
              <a:spcAft>
                <a:spcPts val="0"/>
              </a:spcAft>
              <a:defRPr/>
            </a:pPr>
            <a:r>
              <a:rPr lang="en-US" sz="1600" b="1" i="1" dirty="0">
                <a:latin typeface="+mn-lt"/>
                <a:ea typeface="ＭＳ Ｐゴシック" pitchFamily="-72" charset="-128"/>
              </a:rPr>
              <a:t>Proctor &amp; Gamble</a:t>
            </a:r>
          </a:p>
          <a:p>
            <a:pPr marL="234950" lvl="1" indent="0" eaLnBrk="1" hangingPunct="1">
              <a:spcAft>
                <a:spcPts val="0"/>
              </a:spcAft>
              <a:defRPr/>
            </a:pPr>
            <a:r>
              <a:rPr lang="en-US" sz="1600" b="1" i="1" dirty="0">
                <a:latin typeface="+mn-lt"/>
                <a:ea typeface="ＭＳ Ｐゴシック" pitchFamily="-72" charset="-128"/>
              </a:rPr>
              <a:t>Mattel</a:t>
            </a:r>
          </a:p>
        </p:txBody>
      </p:sp>
      <p:sp>
        <p:nvSpPr>
          <p:cNvPr id="33810" name="Rectangle 17">
            <a:extLst>
              <a:ext uri="{FF2B5EF4-FFF2-40B4-BE49-F238E27FC236}">
                <a16:creationId xmlns:a16="http://schemas.microsoft.com/office/drawing/2014/main" id="{A198051A-38E9-4386-9A0C-82AD4BF7AE4D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292850" y="3303588"/>
            <a:ext cx="1547813" cy="1077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23495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688975" indent="-220663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919163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114935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16065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0637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25209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29781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lvl="1"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Novartis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Boston Scientific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Medtronic</a:t>
            </a:r>
          </a:p>
          <a:p>
            <a:pPr lvl="1"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Covidie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4D625E1-4593-449F-9C4F-D58BA78FC13A}"/>
              </a:ext>
            </a:extLst>
          </p:cNvPr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3751263" y="3673475"/>
            <a:ext cx="1668462" cy="315913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</p:pic>
      <p:sp>
        <p:nvSpPr>
          <p:cNvPr id="33812" name="Rectangle 9">
            <a:extLst>
              <a:ext uri="{FF2B5EF4-FFF2-40B4-BE49-F238E27FC236}">
                <a16:creationId xmlns:a16="http://schemas.microsoft.com/office/drawing/2014/main" id="{C0276638-4A1B-483C-A425-5FECA6EB1A58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530725" y="4672013"/>
            <a:ext cx="1179513" cy="585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466725" indent="-233363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688975" indent="-220663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919163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114935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16065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0637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25209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29781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Samsung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Siemens</a:t>
            </a:r>
          </a:p>
        </p:txBody>
      </p:sp>
      <p:sp>
        <p:nvSpPr>
          <p:cNvPr id="33813" name="Rectangle 15">
            <a:extLst>
              <a:ext uri="{FF2B5EF4-FFF2-40B4-BE49-F238E27FC236}">
                <a16:creationId xmlns:a16="http://schemas.microsoft.com/office/drawing/2014/main" id="{1F363A31-BCF6-4074-91F3-89E1FB16D179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443413" y="2422525"/>
            <a:ext cx="1355725" cy="584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Tw Cen MT" panose="020B0602020104020603" pitchFamily="34" charset="0"/>
              </a:defRPr>
            </a:lvl1pPr>
            <a:lvl2pPr marL="466725" indent="-233363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Tw Cen MT" panose="020B0602020104020603" pitchFamily="34" charset="0"/>
              </a:defRPr>
            </a:lvl2pPr>
            <a:lvl3pPr marL="688975" indent="-220663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Tw Cen MT" panose="020B0602020104020603" pitchFamily="34" charset="0"/>
              </a:defRPr>
            </a:lvl3pPr>
            <a:lvl4pPr marL="919163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4pPr>
            <a:lvl5pPr marL="1149350" indent="-228600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5pPr>
            <a:lvl6pPr marL="16065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6pPr>
            <a:lvl7pPr marL="20637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7pPr>
            <a:lvl8pPr marL="25209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8pPr>
            <a:lvl9pPr marL="2978150" indent="-228600" fontAlgn="base">
              <a:lnSpc>
                <a:spcPct val="12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Tw Cen MT" panose="020B0602020104020603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Misfit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altLang="en-US" sz="1600" b="1" i="1">
                <a:cs typeface="Arial" panose="020B0604020202020204" pitchFamily="34" charset="0"/>
              </a:rPr>
              <a:t>Under Armour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87CBA0A-72FE-4575-A865-C1BDBACD6BCF}"/>
              </a:ext>
            </a:extLst>
          </p:cNvPr>
          <p:cNvGraphicFramePr>
            <a:graphicFrameLocks noGrp="1"/>
          </p:cNvGraphicFramePr>
          <p:nvPr/>
        </p:nvGraphicFramePr>
        <p:xfrm>
          <a:off x="819150" y="1512888"/>
          <a:ext cx="7585075" cy="4048125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3783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01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5835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Opportunity</a:t>
                      </a:r>
                    </a:p>
                  </a:txBody>
                  <a:tcPr marT="45729" marB="45729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Market Opportunity</a:t>
                      </a:r>
                    </a:p>
                  </a:txBody>
                  <a:tcPr marT="45729" marB="45729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9238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600" dirty="0"/>
                        <a:t>Potty Training</a:t>
                      </a:r>
                    </a:p>
                  </a:txBody>
                  <a:tcPr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18288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16+ million children</a:t>
                      </a:r>
                    </a:p>
                    <a:p>
                      <a:pPr marL="285750" indent="-18288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Pre-school &amp; daycare centers</a:t>
                      </a:r>
                    </a:p>
                  </a:txBody>
                  <a:tcPr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9238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Geriatric Incontinence</a:t>
                      </a:r>
                    </a:p>
                  </a:txBody>
                  <a:tcPr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18288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20+ million adults</a:t>
                      </a:r>
                    </a:p>
                    <a:p>
                      <a:pPr marL="285750" marR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/>
                        <a:t>Nursing homes, h</a:t>
                      </a:r>
                      <a:r>
                        <a:rPr lang="en-US" sz="1600" baseline="0" dirty="0"/>
                        <a:t>ospitals &amp; caregivers</a:t>
                      </a:r>
                      <a:endParaRPr lang="en-US" sz="1600" dirty="0"/>
                    </a:p>
                  </a:txBody>
                  <a:tcPr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9238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Life-Threatening Anaphylactic</a:t>
                      </a:r>
                      <a:r>
                        <a:rPr lang="en-US" sz="1600" baseline="0" dirty="0"/>
                        <a:t> Shock</a:t>
                      </a:r>
                      <a:endParaRPr lang="en-US" sz="1600" dirty="0"/>
                    </a:p>
                  </a:txBody>
                  <a:tcPr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18288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10</a:t>
                      </a:r>
                      <a:r>
                        <a:rPr lang="en-US" sz="1600" baseline="0" dirty="0"/>
                        <a:t> – 15 million children &amp; adults</a:t>
                      </a:r>
                    </a:p>
                    <a:p>
                      <a:pPr marL="285750" indent="-18288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Primary care</a:t>
                      </a:r>
                      <a:r>
                        <a:rPr lang="en-US" sz="1600" baseline="0" dirty="0"/>
                        <a:t> physicians &amp; allergists</a:t>
                      </a:r>
                      <a:endParaRPr lang="en-US" sz="1600" dirty="0"/>
                    </a:p>
                  </a:txBody>
                  <a:tcPr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9238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Chronic Migraine Syndromes</a:t>
                      </a:r>
                    </a:p>
                  </a:txBody>
                  <a:tcPr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18288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3 – 5 million adults</a:t>
                      </a:r>
                    </a:p>
                    <a:p>
                      <a:pPr marL="285750" indent="-18288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Neurologists &amp; general practitioners</a:t>
                      </a:r>
                    </a:p>
                  </a:txBody>
                  <a:tcPr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3366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Spinal Cord</a:t>
                      </a:r>
                      <a:r>
                        <a:rPr lang="en-US" sz="1600" baseline="0" dirty="0"/>
                        <a:t> Injuries</a:t>
                      </a:r>
                      <a:endParaRPr lang="en-US" sz="1600" dirty="0"/>
                    </a:p>
                  </a:txBody>
                  <a:tcPr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18288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Incontinence related issues</a:t>
                      </a:r>
                    </a:p>
                    <a:p>
                      <a:pPr marL="285750" indent="-18288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Assists with catheterization timing</a:t>
                      </a:r>
                    </a:p>
                  </a:txBody>
                  <a:tcPr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31669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Stroke </a:t>
                      </a:r>
                      <a:r>
                        <a:rPr lang="en-US" sz="1600" baseline="0" dirty="0"/>
                        <a:t>and Anxiety Attacks</a:t>
                      </a:r>
                      <a:endParaRPr lang="en-US" sz="1600" dirty="0"/>
                    </a:p>
                  </a:txBody>
                  <a:tcPr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/>
                        <a:t>Identify stroke risk</a:t>
                      </a:r>
                      <a:r>
                        <a:rPr lang="en-US" sz="1600" baseline="0" dirty="0"/>
                        <a:t> with HRV/BP changes</a:t>
                      </a:r>
                      <a:endParaRPr lang="en-US" sz="1600" dirty="0"/>
                    </a:p>
                    <a:p>
                      <a:pPr marL="285750" indent="-18288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/>
                        <a:t>Biofeedback to help lower</a:t>
                      </a:r>
                      <a:r>
                        <a:rPr lang="en-US" sz="1600" baseline="0" dirty="0"/>
                        <a:t> BP</a:t>
                      </a:r>
                      <a:endParaRPr lang="en-US" sz="1600" dirty="0"/>
                    </a:p>
                  </a:txBody>
                  <a:tcPr marT="45729" marB="4572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7CA8143-2A67-4AD8-865B-8A63EEE91C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25450"/>
            <a:ext cx="9144000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50000"/>
              </a:lnSpc>
              <a:defRPr/>
            </a:pPr>
            <a:r>
              <a:rPr 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ＭＳ Ｐゴシック" pitchFamily="-72" charset="-128"/>
                <a:cs typeface="ＭＳ Ｐゴシック" pitchFamily="-72" charset="-128"/>
              </a:rPr>
              <a:t>Future Vision</a:t>
            </a:r>
          </a:p>
        </p:txBody>
      </p:sp>
      <p:pic>
        <p:nvPicPr>
          <p:cNvPr id="35872" name="Picture 8">
            <a:extLst>
              <a:ext uri="{FF2B5EF4-FFF2-40B4-BE49-F238E27FC236}">
                <a16:creationId xmlns:a16="http://schemas.microsoft.com/office/drawing/2014/main" id="{0E25BDB1-FD73-459E-9CA5-28F18149AE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" b="26028"/>
          <a:stretch>
            <a:fillRect/>
          </a:stretch>
        </p:blipFill>
        <p:spPr bwMode="auto">
          <a:xfrm>
            <a:off x="7646988" y="358775"/>
            <a:ext cx="1079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FED4593E-2F81-4877-AE9A-F0DD01F99B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EC49C37-DD9B-45D2-9E8F-4A3D2B766F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506B0E10-07B0-45C2-A8EB-60F86E2D297A}" type="slidenum">
              <a:rPr lang="en-US" sz="950" b="1"/>
              <a:pPr>
                <a:defRPr/>
              </a:pPr>
              <a:t>8</a:t>
            </a:fld>
            <a:endParaRPr lang="en-US" sz="950" b="1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45B212-D64B-4E79-96F9-AB289B440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9700"/>
            <a:ext cx="5005388" cy="365125"/>
          </a:xfrm>
        </p:spPr>
        <p:txBody>
          <a:bodyPr/>
          <a:lstStyle/>
          <a:p>
            <a:pPr>
              <a:defRPr/>
            </a:pPr>
            <a:r>
              <a:rPr lang="en-US" sz="800">
                <a:latin typeface="+mn-lt"/>
              </a:rPr>
              <a:t>GOGO BAND Proprietary and Confidential – March 2017</a:t>
            </a:r>
            <a:endParaRPr lang="en-US" sz="800" dirty="0">
              <a:latin typeface="+mn-l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FC333F-FDE2-4118-98EF-FC9F2603C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04225" y="6486525"/>
            <a:ext cx="573088" cy="365125"/>
          </a:xfrm>
        </p:spPr>
        <p:txBody>
          <a:bodyPr/>
          <a:lstStyle/>
          <a:p>
            <a:pPr>
              <a:defRPr/>
            </a:pPr>
            <a:fld id="{0C715207-F8AB-4FDC-81E8-B5214DA4653F}" type="slidenum">
              <a:rPr lang="en-US" sz="950" b="1"/>
              <a:pPr>
                <a:defRPr/>
              </a:pPr>
              <a:t>9</a:t>
            </a:fld>
            <a:endParaRPr lang="en-US" sz="950" b="1" dirty="0"/>
          </a:p>
        </p:txBody>
      </p:sp>
      <p:grpSp>
        <p:nvGrpSpPr>
          <p:cNvPr id="37892" name="Group 7">
            <a:extLst>
              <a:ext uri="{FF2B5EF4-FFF2-40B4-BE49-F238E27FC236}">
                <a16:creationId xmlns:a16="http://schemas.microsoft.com/office/drawing/2014/main" id="{59A833CD-7D04-4124-9465-4387B0655021}"/>
              </a:ext>
            </a:extLst>
          </p:cNvPr>
          <p:cNvGrpSpPr>
            <a:grpSpLocks/>
          </p:cNvGrpSpPr>
          <p:nvPr/>
        </p:nvGrpSpPr>
        <p:grpSpPr bwMode="auto">
          <a:xfrm>
            <a:off x="0" y="6119813"/>
            <a:ext cx="9267825" cy="496887"/>
            <a:chOff x="0" y="5353855"/>
            <a:chExt cx="9267825" cy="49660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684ADDF-939B-4454-9906-A326A40736E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5535851"/>
              <a:ext cx="1684746" cy="166656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8F578CC-B6CB-4F19-AB4B-B94C4FE55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983502" y="5530823"/>
              <a:ext cx="1684746" cy="166656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FD79882-8734-441E-8A5B-47DD1D6273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472693" y="5496809"/>
              <a:ext cx="1728438" cy="226984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F4C7222-8D19-4C25-961E-A4CC6C4AD2F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539388" y="5515524"/>
              <a:ext cx="1728437" cy="165722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21956CC-5A7F-4059-A902-E09965720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027887" y="5353855"/>
              <a:ext cx="1684746" cy="496604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5B7B227-2900-40BA-BA24-4A39A72763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511502" y="5500659"/>
              <a:ext cx="1728438" cy="226984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861A6FF-B93E-45EA-9CB0-EB17DE7D55F8}"/>
              </a:ext>
            </a:extLst>
          </p:cNvPr>
          <p:cNvSpPr txBox="1"/>
          <p:nvPr/>
        </p:nvSpPr>
        <p:spPr>
          <a:xfrm>
            <a:off x="0" y="2740025"/>
            <a:ext cx="9144000" cy="830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n-US" sz="4800" dirty="0">
                <a:latin typeface="+mj-lt"/>
                <a:ea typeface="ＭＳ Ｐゴシック" pitchFamily="-72" charset="-128"/>
                <a:cs typeface="ＭＳ Ｐゴシック" pitchFamily="-72" charset="-128"/>
              </a:rPr>
              <a:t>The                    Solution</a:t>
            </a:r>
          </a:p>
        </p:txBody>
      </p:sp>
      <p:pic>
        <p:nvPicPr>
          <p:cNvPr id="37894" name="Picture 1">
            <a:extLst>
              <a:ext uri="{FF2B5EF4-FFF2-40B4-BE49-F238E27FC236}">
                <a16:creationId xmlns:a16="http://schemas.microsoft.com/office/drawing/2014/main" id="{6FF66331-0C94-4DCB-ACDB-D736BCA204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150"/>
          <a:stretch>
            <a:fillRect/>
          </a:stretch>
        </p:blipFill>
        <p:spPr bwMode="auto">
          <a:xfrm>
            <a:off x="2397125" y="2936875"/>
            <a:ext cx="333216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Uv_OiSRHkuybebFOHWza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EX5Lk_pI0SnHFLJpUGo2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Ui303SQUWllFBA6f.t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wVrDpL3S0CDDhA3wid9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2V6HO2uP06Yegbpc264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Ui303SQUWllFBA6f.t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Ui303SQUWllFBA6f.t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G1adAE3Z0uGeKySe3pV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UJWsRXqCkSlirjXkbfN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wfaSXHWskKkA9jyvrwn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QAjFqPdmEyU6xUuOAHT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Ui303SQUWllFBA6f.t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yaUTrRHYEaeqGEPkzBa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AwL35.RuEWPL6O_.MfK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FLxWufYH0eXCU3Gg.ThTQ"/>
</p:tagLst>
</file>

<file path=ppt/theme/theme1.xml><?xml version="1.0" encoding="utf-8"?>
<a:theme xmlns:a="http://schemas.openxmlformats.org/drawingml/2006/main" name="Droplet">
  <a:themeElements>
    <a:clrScheme name="Droplet">
      <a:dk1>
        <a:sysClr val="windowText" lastClr="000000"/>
      </a:dk1>
      <a:lt1>
        <a:sysClr val="window" lastClr="FFFFFF"/>
      </a:lt1>
      <a:dk2>
        <a:srgbClr val="1C647B"/>
      </a:dk2>
      <a:lt2>
        <a:srgbClr val="98B7D3"/>
      </a:lt2>
      <a:accent1>
        <a:srgbClr val="274FA4"/>
      </a:accent1>
      <a:accent2>
        <a:srgbClr val="48A8D0"/>
      </a:accent2>
      <a:accent3>
        <a:srgbClr val="53B18F"/>
      </a:accent3>
      <a:accent4>
        <a:srgbClr val="D78D38"/>
      </a:accent4>
      <a:accent5>
        <a:srgbClr val="BA3F51"/>
      </a:accent5>
      <a:accent6>
        <a:srgbClr val="AE52D9"/>
      </a:accent6>
      <a:hlink>
        <a:srgbClr val="2AA2DA"/>
      </a:hlink>
      <a:folHlink>
        <a:srgbClr val="76A3B8"/>
      </a:folHlink>
    </a:clrScheme>
    <a:fontScheme name="Droplet">
      <a:majorFont>
        <a:latin typeface="Tw Cen M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roplet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92000"/>
                <a:satMod val="180000"/>
                <a:lumMod val="114000"/>
              </a:schemeClr>
            </a:gs>
            <a:gs pos="100000">
              <a:schemeClr val="phClr">
                <a:shade val="92000"/>
                <a:satMod val="170000"/>
                <a:lumMod val="96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oplet" id="{8984A317-299A-4E50-B45D-BFC9EDE2337A}" vid="{DEB094D4-7FD8-4F86-93D5-B0F1341EF58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roplet</Template>
  <TotalTime>20211</TotalTime>
  <Words>2408</Words>
  <Application>Microsoft Office PowerPoint</Application>
  <PresentationFormat>On-screen Show (4:3)</PresentationFormat>
  <Paragraphs>630</Paragraphs>
  <Slides>29</Slides>
  <Notes>29</Notes>
  <HiddenSlides>2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8" baseType="lpstr">
      <vt:lpstr>Arial</vt:lpstr>
      <vt:lpstr>Calibri</vt:lpstr>
      <vt:lpstr>Century Gothic</vt:lpstr>
      <vt:lpstr>Tw Cen MT</vt:lpstr>
      <vt:lpstr>Verdana</vt:lpstr>
      <vt:lpstr>Wingdings</vt:lpstr>
      <vt:lpstr>Wingdings 3</vt:lpstr>
      <vt:lpstr>Droplet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ogo band</dc:title>
  <dc:creator>Timothy Baker</dc:creator>
  <cp:lastModifiedBy>Timothy Baker</cp:lastModifiedBy>
  <cp:revision>1281</cp:revision>
  <cp:lastPrinted>2016-04-14T19:31:24Z</cp:lastPrinted>
  <dcterms:created xsi:type="dcterms:W3CDTF">2015-11-01T13:10:13Z</dcterms:created>
  <dcterms:modified xsi:type="dcterms:W3CDTF">2021-07-10T01:45:19Z</dcterms:modified>
</cp:coreProperties>
</file>